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4059" r:id="rId1"/>
  </p:sldMasterIdLst>
  <p:notesMasterIdLst>
    <p:notesMasterId r:id="rId4"/>
  </p:notesMasterIdLst>
  <p:handoutMasterIdLst>
    <p:handoutMasterId r:id="rId5"/>
  </p:handoutMasterIdLst>
  <p:sldIdLst>
    <p:sldId id="1787" r:id="rId2"/>
    <p:sldId id="706" r:id="rId3"/>
  </p:sldIdLst>
  <p:sldSz cx="12192000" cy="6858000"/>
  <p:notesSz cx="7315200" cy="9601200"/>
  <p:custDataLst>
    <p:tags r:id="rId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Cover" id="{4B9F51E4-EF31-46E8-85F5-297F0CCC6673}">
          <p14:sldIdLst>
            <p14:sldId id="1787"/>
            <p14:sldId id="706"/>
          </p14:sldIdLst>
        </p14:section>
      </p14:sectionLst>
    </p:ext>
    <p:ext uri="{EFAFB233-063F-42B5-8137-9DF3F51BA10A}">
      <p15:sldGuideLst xmlns:p15="http://schemas.microsoft.com/office/powerpoint/2012/main">
        <p15:guide id="10" userDrawn="1">
          <p15:clr>
            <a:srgbClr val="A4A3A4"/>
          </p15:clr>
        </p15:guide>
        <p15:guide id="11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3" name="Author" initials="A" lastIdx="0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D00"/>
    <a:srgbClr val="37C4FF"/>
    <a:srgbClr val="194955"/>
    <a:srgbClr val="046A38"/>
    <a:srgbClr val="62B5E5"/>
    <a:srgbClr val="575757"/>
    <a:srgbClr val="DB291C"/>
    <a:srgbClr val="0076A8"/>
    <a:srgbClr val="3C8A2E"/>
    <a:srgbClr val="000000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984" autoAdjust="0"/>
  </p:normalViewPr>
  <p:slideViewPr>
    <p:cSldViewPr snapToGrid="0" showGuides="1">
      <p:cViewPr varScale="1">
        <p:scale>
          <a:sx n="110" d="100"/>
          <a:sy n="110" d="100"/>
        </p:scale>
        <p:origin x="576" y="102"/>
      </p:cViewPr>
      <p:guideLst>
        <p:guide/>
        <p:guide orient="horz" pos="2160"/>
      </p:guideLst>
    </p:cSldViewPr>
  </p:slideViewPr>
  <p:outlineViewPr>
    <p:cViewPr>
      <p:scale>
        <a:sx n="33" d="100"/>
        <a:sy n="33" d="100"/>
      </p:scale>
      <p:origin x="0" y="-5919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27" d="100"/>
          <a:sy n="27" d="100"/>
        </p:scale>
        <p:origin x="2148" y="60"/>
      </p:cViewPr>
      <p:guideLst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commentAuthors" Target="commentAuthor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11" Type="http://schemas.openxmlformats.org/officeDocument/2006/relationships/tableStyles" Target="tableStyles.xml"/><Relationship Id="rId5" Type="http://schemas.openxmlformats.org/officeDocument/2006/relationships/handoutMaster" Target="handoutMasters/handoutMaster1.xml"/><Relationship Id="rId10" Type="http://schemas.openxmlformats.org/officeDocument/2006/relationships/theme" Target="theme/theme1.xml"/><Relationship Id="rId4" Type="http://schemas.openxmlformats.org/officeDocument/2006/relationships/notesMaster" Target="notesMasters/notesMaster1.xml"/><Relationship Id="rId9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427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r">
              <a:defRPr sz="1100"/>
            </a:lvl1pPr>
          </a:lstStyle>
          <a:p>
            <a:fld id="{B4AD245C-091B-44E2-BFB0-BD94217887F7}" type="datetimeFigureOut">
              <a:rPr lang="en-US" smtClean="0">
                <a:latin typeface="Arial" panose="020B0604020202020204" pitchFamily="34" charset="0"/>
              </a:rPr>
              <a:t>11/17/2023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427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r">
              <a:defRPr sz="1100"/>
            </a:lvl1pPr>
          </a:lstStyle>
          <a:p>
            <a:fld id="{9A913F39-CFF6-40F1-84D1-700840B41EAB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9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BA5BBE4-AEA3-489A-A28E-0C2FAF2506E3}" type="datetimeFigureOut">
              <a:rPr lang="en-US" smtClean="0"/>
              <a:pPr/>
              <a:t>11/17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58788" y="720725"/>
            <a:ext cx="6397625" cy="3598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478" tIns="49238" rIns="98478" bIns="49238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1"/>
            <a:ext cx="5852160" cy="4320540"/>
          </a:xfrm>
          <a:prstGeom prst="rect">
            <a:avLst/>
          </a:prstGeom>
        </p:spPr>
        <p:txBody>
          <a:bodyPr vert="horz" lIns="98478" tIns="49238" rIns="98478" bIns="49238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9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0F4A2C8-6C88-4E71-83EE-698B9D4FE22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5825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xfrm>
            <a:off x="458788" y="720725"/>
            <a:ext cx="6397625" cy="3598863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45826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/>
          </a:p>
        </p:txBody>
      </p:sp>
      <p:sp>
        <p:nvSpPr>
          <p:cNvPr id="845827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A559B68C-5915-4D23-A2C6-5B96549FD7A0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63381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 29">
            <a:extLst>
              <a:ext uri="{FF2B5EF4-FFF2-40B4-BE49-F238E27FC236}">
                <a16:creationId xmlns:a16="http://schemas.microsoft.com/office/drawing/2014/main" id="{E9ED29CA-6A60-490D-9D54-EA7CC7AF832C}"/>
              </a:ext>
            </a:extLst>
          </p:cNvPr>
          <p:cNvGrpSpPr>
            <a:grpSpLocks noChangeAspect="1"/>
          </p:cNvGrpSpPr>
          <p:nvPr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31" name="Oval 5">
              <a:extLst>
                <a:ext uri="{FF2B5EF4-FFF2-40B4-BE49-F238E27FC236}">
                  <a16:creationId xmlns:a16="http://schemas.microsoft.com/office/drawing/2014/main" id="{119E2360-A688-44DF-A6BB-76D18177CC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accent1"/>
                </a:solidFill>
              </a:endParaRPr>
            </a:p>
          </p:txBody>
        </p:sp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4265C3C7-34A9-47F1-AB5F-2771E18789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3" name="Rectangle 7">
              <a:extLst>
                <a:ext uri="{FF2B5EF4-FFF2-40B4-BE49-F238E27FC236}">
                  <a16:creationId xmlns:a16="http://schemas.microsoft.com/office/drawing/2014/main" id="{A9400861-EDC5-4A80-9569-C20320CE00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64DC9296-DBBC-4C4E-ACB4-7DA2607D52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5" name="Rectangle 9">
              <a:extLst>
                <a:ext uri="{FF2B5EF4-FFF2-40B4-BE49-F238E27FC236}">
                  <a16:creationId xmlns:a16="http://schemas.microsoft.com/office/drawing/2014/main" id="{3E26591B-8E9F-4856-8284-BF3F8DB6AB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6" name="Rectangle 10">
              <a:extLst>
                <a:ext uri="{FF2B5EF4-FFF2-40B4-BE49-F238E27FC236}">
                  <a16:creationId xmlns:a16="http://schemas.microsoft.com/office/drawing/2014/main" id="{43F42271-5510-4D15-B07B-133237928B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7" name="Freeform 11">
              <a:extLst>
                <a:ext uri="{FF2B5EF4-FFF2-40B4-BE49-F238E27FC236}">
                  <a16:creationId xmlns:a16="http://schemas.microsoft.com/office/drawing/2014/main" id="{00E9FD99-54D9-422B-9717-D0DD3442A0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BAF30821-90D3-436A-8DDF-D130E6644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9" name="Freeform 13">
              <a:extLst>
                <a:ext uri="{FF2B5EF4-FFF2-40B4-BE49-F238E27FC236}">
                  <a16:creationId xmlns:a16="http://schemas.microsoft.com/office/drawing/2014/main" id="{5C1A565D-B22B-4EE2-ACC9-C993D581F0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40" name="Freeform 14">
              <a:extLst>
                <a:ext uri="{FF2B5EF4-FFF2-40B4-BE49-F238E27FC236}">
                  <a16:creationId xmlns:a16="http://schemas.microsoft.com/office/drawing/2014/main" id="{666738FD-9737-43F5-8E36-896FD725FE0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  <p:sp>
        <p:nvSpPr>
          <p:cNvPr id="41" name="Picture Placeholder 8">
            <a:extLst>
              <a:ext uri="{FF2B5EF4-FFF2-40B4-BE49-F238E27FC236}">
                <a16:creationId xmlns:a16="http://schemas.microsoft.com/office/drawing/2014/main" id="{AC175F74-77C8-4969-BBF5-920619ED762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B345DB50-CB94-4421-9E14-33DABF973475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501651" y="5186207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470C5F18-5824-4737-AA04-AA61C1FBBF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4446269" cy="2730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87035599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501650" y="1665289"/>
            <a:ext cx="5594351" cy="47164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9939BF43-6ABE-4327-81AC-7892A047732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E4133C46-CE37-4404-B4D0-9DFA124106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851148697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D1AFA9E9-5EB8-42BF-B15A-3D95DDA547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C3F5B0ED-A4CB-4D19-B6B8-CA9E1139E7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34143868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F79D3799-9A6C-45EE-B3ED-0F77AAB658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678955281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-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F79D3799-9A6C-45EE-B3ED-0F77AAB658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aseCode">
            <a:extLst>
              <a:ext uri="{FF2B5EF4-FFF2-40B4-BE49-F238E27FC236}">
                <a16:creationId xmlns:a16="http://schemas.microsoft.com/office/drawing/2014/main" id="{4D067F15-7090-4FD4-8B55-76CB78DD9BD0}"/>
              </a:ext>
            </a:extLst>
          </p:cNvPr>
          <p:cNvSpPr txBox="1"/>
          <p:nvPr userDrawn="1"/>
        </p:nvSpPr>
        <p:spPr>
          <a:xfrm>
            <a:off x="6335184" y="6477000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5" name="Copyright">
            <a:extLst>
              <a:ext uri="{FF2B5EF4-FFF2-40B4-BE49-F238E27FC236}">
                <a16:creationId xmlns:a16="http://schemas.microsoft.com/office/drawing/2014/main" id="{A13EFA35-A937-47F7-93E5-9465F8876AC6}"/>
              </a:ext>
            </a:extLst>
          </p:cNvPr>
          <p:cNvSpPr txBox="1"/>
          <p:nvPr userDrawn="1"/>
        </p:nvSpPr>
        <p:spPr>
          <a:xfrm>
            <a:off x="501649" y="6477001"/>
            <a:ext cx="535516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ember firms and DTTL: Insert appropriate copyright</a:t>
            </a:r>
            <a:b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39B4359-4F20-4FAE-B7A0-C54983A639ED}"/>
              </a:ext>
            </a:extLst>
          </p:cNvPr>
          <p:cNvSpPr txBox="1"/>
          <p:nvPr userDrawn="1"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25118846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01652" y="4211955"/>
            <a:ext cx="8528936" cy="2169796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370847" y="4211955"/>
            <a:ext cx="2319503" cy="1725448"/>
          </a:xfrm>
        </p:spPr>
        <p:txBody>
          <a:bodyPr anchor="ctr" anchorCtr="0"/>
          <a:lstStyle>
            <a:lvl1pPr algn="ctr">
              <a:defRPr sz="900">
                <a:solidFill>
                  <a:schemeClr val="bg1"/>
                </a:solidFill>
              </a:defRPr>
            </a:lvl1pPr>
          </a:lstStyle>
          <a:p>
            <a:r>
              <a:rPr lang="en-GB" sz="900" dirty="0"/>
              <a:t>Insert sponsorship mark here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370850" y="6018028"/>
            <a:ext cx="2319501" cy="363722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95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8DBE0613-D0C6-405A-ACD6-58EF0477427B}"/>
              </a:ext>
            </a:extLst>
          </p:cNvPr>
          <p:cNvGrpSpPr>
            <a:grpSpLocks noChangeAspect="1"/>
          </p:cNvGrpSpPr>
          <p:nvPr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FD362D39-3352-4BA0-AC51-553983A71C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rgbClr val="86BC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1156DAFF-F101-4061-AA75-F8EEDC00FC7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3" name="Rectangle 7">
              <a:extLst>
                <a:ext uri="{FF2B5EF4-FFF2-40B4-BE49-F238E27FC236}">
                  <a16:creationId xmlns:a16="http://schemas.microsoft.com/office/drawing/2014/main" id="{5667AB23-84F3-44E4-B904-5D4D3A9B31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id="{12CE4E7F-CB40-4545-80AF-423201F72F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5" name="Rectangle 9">
              <a:extLst>
                <a:ext uri="{FF2B5EF4-FFF2-40B4-BE49-F238E27FC236}">
                  <a16:creationId xmlns:a16="http://schemas.microsoft.com/office/drawing/2014/main" id="{A7B265B2-4EA1-416A-A272-49E48905C3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6" name="Rectangle 10">
              <a:extLst>
                <a:ext uri="{FF2B5EF4-FFF2-40B4-BE49-F238E27FC236}">
                  <a16:creationId xmlns:a16="http://schemas.microsoft.com/office/drawing/2014/main" id="{3744CD22-C3A3-4D80-AB50-3E6D348330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3046CB4E-F174-491D-9CAB-2A9115985705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8" name="Freeform 12">
              <a:extLst>
                <a:ext uri="{FF2B5EF4-FFF2-40B4-BE49-F238E27FC236}">
                  <a16:creationId xmlns:a16="http://schemas.microsoft.com/office/drawing/2014/main" id="{8B2D79F2-05A8-4E1C-A4D8-725E529630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9" name="Freeform 13">
              <a:extLst>
                <a:ext uri="{FF2B5EF4-FFF2-40B4-BE49-F238E27FC236}">
                  <a16:creationId xmlns:a16="http://schemas.microsoft.com/office/drawing/2014/main" id="{9EA13742-485A-4EC3-BF90-9FD12F905B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0" name="Freeform 14">
              <a:extLst>
                <a:ext uri="{FF2B5EF4-FFF2-40B4-BE49-F238E27FC236}">
                  <a16:creationId xmlns:a16="http://schemas.microsoft.com/office/drawing/2014/main" id="{5D44DAC1-76F0-42F6-93C9-61B9C3054D6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225954"/>
      </p:ext>
    </p:extLst>
  </p:cSld>
  <p:clrMapOvr>
    <a:masterClrMapping/>
  </p:clrMapOvr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Black Page Image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DEF77F0F-DE6A-48C9-92BD-013174DD643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1" name="Text Placeholder 4">
            <a:extLst>
              <a:ext uri="{FF2B5EF4-FFF2-40B4-BE49-F238E27FC236}">
                <a16:creationId xmlns:a16="http://schemas.microsoft.com/office/drawing/2014/main" id="{EE5D7BA0-7E63-4F55-8707-FB998AF96C8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4446269" cy="2730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37C1D43B-9933-4650-9DD5-73494BECAE5A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501651" y="5186207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55EEA3F2-C909-4275-956A-5518D341D424}"/>
              </a:ext>
            </a:extLst>
          </p:cNvPr>
          <p:cNvGrpSpPr>
            <a:grpSpLocks noChangeAspect="1"/>
          </p:cNvGrpSpPr>
          <p:nvPr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31" name="Oval 5">
              <a:extLst>
                <a:ext uri="{FF2B5EF4-FFF2-40B4-BE49-F238E27FC236}">
                  <a16:creationId xmlns:a16="http://schemas.microsoft.com/office/drawing/2014/main" id="{619F8D2D-E0FF-4267-BB4C-23E0F19AA0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40BDA8F6-D1EC-4590-8515-7F2E0D9EE11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3" name="Rectangle 7">
              <a:extLst>
                <a:ext uri="{FF2B5EF4-FFF2-40B4-BE49-F238E27FC236}">
                  <a16:creationId xmlns:a16="http://schemas.microsoft.com/office/drawing/2014/main" id="{8E570DBD-3EC7-4EE8-886A-A6498BEC37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B1656288-29CD-4B95-A46B-7B8DA78609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5" name="Rectangle 9">
              <a:extLst>
                <a:ext uri="{FF2B5EF4-FFF2-40B4-BE49-F238E27FC236}">
                  <a16:creationId xmlns:a16="http://schemas.microsoft.com/office/drawing/2014/main" id="{C3894AF9-2B03-4231-9AEA-EC49F5E194E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6" name="Rectangle 10">
              <a:extLst>
                <a:ext uri="{FF2B5EF4-FFF2-40B4-BE49-F238E27FC236}">
                  <a16:creationId xmlns:a16="http://schemas.microsoft.com/office/drawing/2014/main" id="{F1C43784-6F73-4D9F-8497-B40FDBB854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7" name="Freeform 11">
              <a:extLst>
                <a:ext uri="{FF2B5EF4-FFF2-40B4-BE49-F238E27FC236}">
                  <a16:creationId xmlns:a16="http://schemas.microsoft.com/office/drawing/2014/main" id="{E031C0BD-B701-4255-B53D-1A0FB806633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1F07466D-8C2C-4286-9984-9193301353E7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9" name="Freeform 13">
              <a:extLst>
                <a:ext uri="{FF2B5EF4-FFF2-40B4-BE49-F238E27FC236}">
                  <a16:creationId xmlns:a16="http://schemas.microsoft.com/office/drawing/2014/main" id="{F2700776-9B5A-4A2C-BA8E-E8C5B03A090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42" name="Freeform 14">
              <a:extLst>
                <a:ext uri="{FF2B5EF4-FFF2-40B4-BE49-F238E27FC236}">
                  <a16:creationId xmlns:a16="http://schemas.microsoft.com/office/drawing/2014/main" id="{1D768AB6-AEBA-4689-BCE3-70447F634D0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03948341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24934" y="1705670"/>
            <a:ext cx="10517717" cy="1592403"/>
          </a:xfr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24934" y="3429000"/>
            <a:ext cx="10517717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1649632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 4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28000" y="1705670"/>
            <a:ext cx="10514651" cy="1592403"/>
          </a:xfr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28000" y="3429000"/>
            <a:ext cx="10517717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5446283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1652" y="2052000"/>
            <a:ext cx="11188699" cy="4069013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2" y="1674087"/>
            <a:ext cx="11188699" cy="3571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51" y="6121014"/>
            <a:ext cx="11188700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8CFE9674-04ED-4C53-9426-4EA385799F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655300795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5305579" cy="47164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81539" y="1665289"/>
            <a:ext cx="5322781" cy="47164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8A9CD2DA-AA83-4DCB-8501-DE5878CC0B8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6559CC6F-6478-4902-A4D5-F8FB6538D2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260089838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501652" y="1665289"/>
            <a:ext cx="5355165" cy="44557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41223" y="2125013"/>
            <a:ext cx="5349128" cy="3996000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3" y="1665288"/>
            <a:ext cx="5349128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50" y="6121014"/>
            <a:ext cx="11188700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E911C489-B226-49BC-B069-119CF8BC96E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F47218A4-44FE-4E96-A903-7AD44AF4E8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933016167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41221" y="2125013"/>
            <a:ext cx="5349129" cy="3996000"/>
          </a:xfrm>
        </p:spPr>
        <p:txBody>
          <a:bodyPr>
            <a:noAutofit/>
          </a:bodyPr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2" y="1665288"/>
            <a:ext cx="5349129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49" y="6121014"/>
            <a:ext cx="11165419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501650" y="2125013"/>
            <a:ext cx="5349240" cy="3996000"/>
          </a:xfrm>
        </p:spPr>
        <p:txBody>
          <a:bodyPr>
            <a:noAutofit/>
          </a:bodyPr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501649" y="1665288"/>
            <a:ext cx="5349240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D528E1B-5BDF-48B1-B9CD-A31A996312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56A696DA-71F5-44D5-B231-17F470D2F6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490455098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4000" y="2051999"/>
            <a:ext cx="3549549" cy="4069014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0" y="1659145"/>
            <a:ext cx="3549549" cy="392112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322401" y="2051999"/>
            <a:ext cx="3549549" cy="4069014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321226" y="1659145"/>
            <a:ext cx="3549549" cy="392112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140801" y="2051999"/>
            <a:ext cx="3549549" cy="4069014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140801" y="1659145"/>
            <a:ext cx="3549549" cy="398256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49" y="6121014"/>
            <a:ext cx="11165419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F3BAE7D4-2DCE-493F-8804-6735FFDC6D7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0AA8666D-884E-4CE4-A16C-E06A6E0BAE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256598526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342380256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01651" y="317501"/>
            <a:ext cx="11188700" cy="3098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5" name="CaseCode"/>
          <p:cNvSpPr txBox="1"/>
          <p:nvPr/>
        </p:nvSpPr>
        <p:spPr>
          <a:xfrm>
            <a:off x="6335184" y="6477000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enAI Capstone Project</a:t>
            </a:r>
          </a:p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an McLennan</a:t>
            </a:r>
          </a:p>
        </p:txBody>
      </p:sp>
      <p:sp>
        <p:nvSpPr>
          <p:cNvPr id="18" name="Copyright"/>
          <p:cNvSpPr txBox="1"/>
          <p:nvPr/>
        </p:nvSpPr>
        <p:spPr>
          <a:xfrm>
            <a:off x="501649" y="6477001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loitte Consulting LLP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501650" y="1665289"/>
            <a:ext cx="11188700" cy="471646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391195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1" r:id="rId1"/>
    <p:sldLayoutId id="2147484062" r:id="rId2"/>
    <p:sldLayoutId id="2147483816" r:id="rId3"/>
    <p:sldLayoutId id="2147483817" r:id="rId4"/>
    <p:sldLayoutId id="2147484067" r:id="rId5"/>
    <p:sldLayoutId id="2147484072" r:id="rId6"/>
    <p:sldLayoutId id="2147484074" r:id="rId7"/>
    <p:sldLayoutId id="2147484075" r:id="rId8"/>
    <p:sldLayoutId id="2147484078" r:id="rId9"/>
    <p:sldLayoutId id="2147484086" r:id="rId10"/>
    <p:sldLayoutId id="2147484087" r:id="rId11"/>
    <p:sldLayoutId id="2147484088" r:id="rId12"/>
    <p:sldLayoutId id="2147484105" r:id="rId13"/>
    <p:sldLayoutId id="2147484091" r:id="rId14"/>
  </p:sldLayoutIdLst>
  <p:transition>
    <p:fade/>
  </p:transition>
  <p:hf hdr="0" dt="0"/>
  <p:txStyles>
    <p:titleStyle>
      <a:lvl1pPr algn="l" defTabSz="914400" rtl="0" eaLnBrk="1" latinLnBrk="0" hangingPunct="1">
        <a:spcBef>
          <a:spcPct val="0"/>
        </a:spcBef>
        <a:buNone/>
        <a:defRPr sz="2100" kern="1200">
          <a:solidFill>
            <a:schemeClr val="tx1"/>
          </a:solidFill>
          <a:latin typeface="+mn-lt"/>
          <a:ea typeface="+mj-ea"/>
          <a:cs typeface="Calibri Light" panose="020F0302020204030204" pitchFamily="34" charset="0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Tx/>
        <a:buNone/>
        <a:defRPr sz="1300" b="0" kern="120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1pPr>
      <a:lvl2pPr marL="139700" indent="-1397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300" b="1" kern="1200" dirty="0" smtClean="0">
          <a:solidFill>
            <a:schemeClr val="tx1"/>
          </a:solidFill>
          <a:latin typeface="+mj-lt"/>
          <a:ea typeface="+mn-ea"/>
          <a:cs typeface="Calibri Light" panose="020F0302020204030204" pitchFamily="34" charset="0"/>
        </a:defRPr>
      </a:lvl2pPr>
      <a:lvl3pPr marL="304800" indent="-1397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−"/>
        <a:defRPr lang="en-US" sz="1300" kern="120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3pPr>
      <a:lvl4pPr marL="469900" indent="-1397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◦"/>
        <a:defRPr lang="en-US" sz="1300" kern="1200" baseline="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4pPr>
      <a:lvl5pPr marL="635000" indent="-1397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−"/>
        <a:tabLst/>
        <a:defRPr lang="en-US" sz="1300" kern="1200" baseline="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0" orient="horz" pos="4081">
          <p15:clr>
            <a:srgbClr val="F26B43"/>
          </p15:clr>
        </p15:guide>
        <p15:guide id="46" orient="horz" pos="4020" userDrawn="1">
          <p15:clr>
            <a:srgbClr val="F26B43"/>
          </p15:clr>
        </p15:guide>
        <p15:guide id="51" orient="horz" pos="4080" userDrawn="1">
          <p15:clr>
            <a:srgbClr val="F26B43"/>
          </p15:clr>
        </p15:guide>
        <p15:guide id="52" pos="3840" userDrawn="1">
          <p15:clr>
            <a:srgbClr val="F26B43"/>
          </p15:clr>
        </p15:guide>
        <p15:guide id="53" pos="3912" userDrawn="1">
          <p15:clr>
            <a:srgbClr val="F26B43"/>
          </p15:clr>
        </p15:guide>
        <p15:guide id="54" pos="3768" userDrawn="1">
          <p15:clr>
            <a:srgbClr val="F26B43"/>
          </p15:clr>
        </p15:guide>
        <p15:guide id="55" pos="4968" userDrawn="1">
          <p15:clr>
            <a:srgbClr val="F26B43"/>
          </p15:clr>
        </p15:guide>
        <p15:guide id="56" pos="5088" userDrawn="1">
          <p15:clr>
            <a:srgbClr val="F26B43"/>
          </p15:clr>
        </p15:guide>
        <p15:guide id="57" pos="6168" userDrawn="1">
          <p15:clr>
            <a:srgbClr val="F26B43"/>
          </p15:clr>
        </p15:guide>
        <p15:guide id="58" pos="6288" userDrawn="1">
          <p15:clr>
            <a:srgbClr val="F26B43"/>
          </p15:clr>
        </p15:guide>
        <p15:guide id="59" pos="2712" userDrawn="1">
          <p15:clr>
            <a:srgbClr val="F26B43"/>
          </p15:clr>
        </p15:guide>
        <p15:guide id="60" pos="2592" userDrawn="1">
          <p15:clr>
            <a:srgbClr val="F26B43"/>
          </p15:clr>
        </p15:guide>
        <p15:guide id="61" pos="1512" userDrawn="1">
          <p15:clr>
            <a:srgbClr val="F26B43"/>
          </p15:clr>
        </p15:guide>
        <p15:guide id="62" pos="1392" userDrawn="1">
          <p15:clr>
            <a:srgbClr val="F26B43"/>
          </p15:clr>
        </p15:guide>
        <p15:guide id="63" pos="312" userDrawn="1">
          <p15:clr>
            <a:srgbClr val="F26B43"/>
          </p15:clr>
        </p15:guide>
        <p15:guide id="64" orient="horz" pos="1056" userDrawn="1">
          <p15:clr>
            <a:srgbClr val="F26B43"/>
          </p15:clr>
        </p15:guide>
        <p15:guide id="65" orient="horz" pos="2232" userDrawn="1">
          <p15:clr>
            <a:srgbClr val="F26B43"/>
          </p15:clr>
        </p15:guide>
        <p15:guide id="66" orient="horz" pos="19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Placeholder 8">
            <a:extLst>
              <a:ext uri="{FF2B5EF4-FFF2-40B4-BE49-F238E27FC236}">
                <a16:creationId xmlns:a16="http://schemas.microsoft.com/office/drawing/2014/main" id="{CCAB432B-E0E7-4F80-A4A1-76DCDC1FBF7B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5" r="15"/>
          <a:stretch>
            <a:fillRect/>
          </a:stretch>
        </p:blipFill>
        <p:spPr/>
      </p:pic>
      <p:sp>
        <p:nvSpPr>
          <p:cNvPr id="12" name="Title 11">
            <a:extLst>
              <a:ext uri="{FF2B5EF4-FFF2-40B4-BE49-F238E27FC236}">
                <a16:creationId xmlns:a16="http://schemas.microsoft.com/office/drawing/2014/main" id="{C2F03B24-5911-487D-A541-83315BB9229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01651" y="5186207"/>
            <a:ext cx="4888955" cy="895983"/>
          </a:xfrm>
        </p:spPr>
        <p:txBody>
          <a:bodyPr/>
          <a:lstStyle/>
          <a:p>
            <a:r>
              <a:rPr lang="en-US" dirty="0"/>
              <a:t>Statement of Interest Generator | Capstone Project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B17207E-7FD3-4B75-ADFE-CC565F8DB8A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Autofit/>
          </a:bodyPr>
          <a:lstStyle/>
          <a:p>
            <a:r>
              <a:rPr lang="en-US" dirty="0"/>
              <a:t>11/21/23 Ian McLennan GenAI Training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4091ED7-C412-487B-88AC-F1B76F6BA2F2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694852" y="5659120"/>
            <a:ext cx="1198880" cy="1198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5691542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Deloitte Internal Tool</a:t>
            </a:r>
          </a:p>
        </p:txBody>
      </p:sp>
      <p:sp>
        <p:nvSpPr>
          <p:cNvPr id="371719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dirty="0"/>
              <a:t>Statement of Interest Generator</a:t>
            </a:r>
            <a:endParaRPr lang="en-US" dirty="0"/>
          </a:p>
        </p:txBody>
      </p:sp>
      <p:sp>
        <p:nvSpPr>
          <p:cNvPr id="46" name="Freeform 45"/>
          <p:cNvSpPr/>
          <p:nvPr/>
        </p:nvSpPr>
        <p:spPr bwMode="gray">
          <a:xfrm>
            <a:off x="1908256" y="1548144"/>
            <a:ext cx="2205031" cy="217283"/>
          </a:xfrm>
          <a:custGeom>
            <a:avLst/>
            <a:gdLst>
              <a:gd name="connsiteX0" fmla="*/ 2127564 w 2127564"/>
              <a:gd name="connsiteY0" fmla="*/ 217283 h 217283"/>
              <a:gd name="connsiteX1" fmla="*/ 1765425 w 2127564"/>
              <a:gd name="connsiteY1" fmla="*/ 0 h 217283"/>
              <a:gd name="connsiteX2" fmla="*/ 0 w 2127564"/>
              <a:gd name="connsiteY2" fmla="*/ 0 h 2172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127564" h="217283">
                <a:moveTo>
                  <a:pt x="2127564" y="217283"/>
                </a:moveTo>
                <a:lnTo>
                  <a:pt x="1765425" y="0"/>
                </a:lnTo>
                <a:lnTo>
                  <a:pt x="0" y="0"/>
                </a:lnTo>
              </a:path>
            </a:pathLst>
          </a:custGeom>
          <a:noFill/>
          <a:ln w="9525" algn="ctr">
            <a:solidFill>
              <a:srgbClr val="BBBCBC"/>
            </a:solidFill>
            <a:miter lim="800000"/>
            <a:headEnd/>
            <a:tailEnd/>
          </a:ln>
        </p:spPr>
        <p:txBody>
          <a:bodyPr rtlCol="0" anchor="ctr"/>
          <a:lstStyle/>
          <a:p>
            <a:pPr algn="ctr"/>
            <a:endParaRPr lang="en-US">
              <a:solidFill>
                <a:schemeClr val="accent6"/>
              </a:solidFill>
            </a:endParaRPr>
          </a:p>
        </p:txBody>
      </p:sp>
      <p:sp>
        <p:nvSpPr>
          <p:cNvPr id="47" name="Rectangle 46"/>
          <p:cNvSpPr/>
          <p:nvPr/>
        </p:nvSpPr>
        <p:spPr>
          <a:xfrm>
            <a:off x="1908255" y="1580937"/>
            <a:ext cx="1828800" cy="184665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/>
              <a:t>When applying for projects at Deloitte, you must fill out a brief “Statement of Interest” for each project rol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/>
              <a:t>To maximize your chance of success, you should tailor your application for each role and skillse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/>
              <a:t>For someone who struggles to “brag” about themselves, this statement of interest can be difficult to do repetitively</a:t>
            </a:r>
          </a:p>
        </p:txBody>
      </p:sp>
      <p:sp>
        <p:nvSpPr>
          <p:cNvPr id="60" name="Rectangle 59"/>
          <p:cNvSpPr/>
          <p:nvPr/>
        </p:nvSpPr>
        <p:spPr>
          <a:xfrm>
            <a:off x="1908255" y="1377732"/>
            <a:ext cx="1828800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US" sz="1000" b="1" dirty="0">
                <a:solidFill>
                  <a:schemeClr val="accent3"/>
                </a:solidFill>
              </a:rPr>
              <a:t>Problem Statement</a:t>
            </a:r>
            <a:endParaRPr lang="en-US" sz="800" dirty="0">
              <a:solidFill>
                <a:schemeClr val="accent3"/>
              </a:solidFill>
            </a:endParaRPr>
          </a:p>
        </p:txBody>
      </p:sp>
      <p:sp>
        <p:nvSpPr>
          <p:cNvPr id="61" name="Freeform 60"/>
          <p:cNvSpPr/>
          <p:nvPr/>
        </p:nvSpPr>
        <p:spPr bwMode="gray">
          <a:xfrm flipH="1">
            <a:off x="8035570" y="1711225"/>
            <a:ext cx="2205031" cy="217283"/>
          </a:xfrm>
          <a:custGeom>
            <a:avLst/>
            <a:gdLst>
              <a:gd name="connsiteX0" fmla="*/ 2127564 w 2127564"/>
              <a:gd name="connsiteY0" fmla="*/ 217283 h 217283"/>
              <a:gd name="connsiteX1" fmla="*/ 1765425 w 2127564"/>
              <a:gd name="connsiteY1" fmla="*/ 0 h 217283"/>
              <a:gd name="connsiteX2" fmla="*/ 0 w 2127564"/>
              <a:gd name="connsiteY2" fmla="*/ 0 h 2172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127564" h="217283">
                <a:moveTo>
                  <a:pt x="2127564" y="217283"/>
                </a:moveTo>
                <a:lnTo>
                  <a:pt x="1765425" y="0"/>
                </a:lnTo>
                <a:lnTo>
                  <a:pt x="0" y="0"/>
                </a:lnTo>
              </a:path>
            </a:pathLst>
          </a:custGeom>
          <a:noFill/>
          <a:ln w="9525" algn="ctr">
            <a:solidFill>
              <a:srgbClr val="BBBCBC"/>
            </a:solidFill>
            <a:miter lim="800000"/>
            <a:headEnd/>
            <a:tailEnd/>
          </a:ln>
        </p:spPr>
        <p:txBody>
          <a:bodyPr rtlCol="0" anchor="ctr"/>
          <a:lstStyle/>
          <a:p>
            <a:pPr algn="ctr"/>
            <a:endParaRPr lang="en-US">
              <a:solidFill>
                <a:schemeClr val="accent6"/>
              </a:solidFill>
            </a:endParaRPr>
          </a:p>
        </p:txBody>
      </p:sp>
      <p:sp>
        <p:nvSpPr>
          <p:cNvPr id="62" name="Rectangle 61"/>
          <p:cNvSpPr/>
          <p:nvPr/>
        </p:nvSpPr>
        <p:spPr>
          <a:xfrm>
            <a:off x="8411800" y="1744018"/>
            <a:ext cx="1828800" cy="15388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/>
              <a:t>This application allows users to input a PDF of their resume and receive a generated response that is designed specifically for the project rol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/>
              <a:t>This application utilizes the locally run Llama 2 model to generate a text output based on your parameters and the details you input</a:t>
            </a:r>
          </a:p>
        </p:txBody>
      </p:sp>
      <p:sp>
        <p:nvSpPr>
          <p:cNvPr id="63" name="Rectangle 62"/>
          <p:cNvSpPr/>
          <p:nvPr/>
        </p:nvSpPr>
        <p:spPr>
          <a:xfrm>
            <a:off x="8411800" y="1540813"/>
            <a:ext cx="1828800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US" sz="1000" b="1" dirty="0">
                <a:solidFill>
                  <a:schemeClr val="accent1"/>
                </a:solidFill>
              </a:rPr>
              <a:t>Solution Overview</a:t>
            </a:r>
            <a:endParaRPr lang="en-US" sz="800" dirty="0">
              <a:solidFill>
                <a:schemeClr val="accent1"/>
              </a:solidFill>
            </a:endParaRPr>
          </a:p>
        </p:txBody>
      </p:sp>
      <p:sp>
        <p:nvSpPr>
          <p:cNvPr id="64" name="Freeform 63"/>
          <p:cNvSpPr/>
          <p:nvPr/>
        </p:nvSpPr>
        <p:spPr bwMode="gray">
          <a:xfrm flipV="1">
            <a:off x="1908256" y="5145359"/>
            <a:ext cx="2205031" cy="217283"/>
          </a:xfrm>
          <a:custGeom>
            <a:avLst/>
            <a:gdLst>
              <a:gd name="connsiteX0" fmla="*/ 2127564 w 2127564"/>
              <a:gd name="connsiteY0" fmla="*/ 217283 h 217283"/>
              <a:gd name="connsiteX1" fmla="*/ 1765425 w 2127564"/>
              <a:gd name="connsiteY1" fmla="*/ 0 h 217283"/>
              <a:gd name="connsiteX2" fmla="*/ 0 w 2127564"/>
              <a:gd name="connsiteY2" fmla="*/ 0 h 2172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127564" h="217283">
                <a:moveTo>
                  <a:pt x="2127564" y="217283"/>
                </a:moveTo>
                <a:lnTo>
                  <a:pt x="1765425" y="0"/>
                </a:lnTo>
                <a:lnTo>
                  <a:pt x="0" y="0"/>
                </a:lnTo>
              </a:path>
            </a:pathLst>
          </a:custGeom>
          <a:noFill/>
          <a:ln w="9525" algn="ctr">
            <a:solidFill>
              <a:srgbClr val="BBBCBC"/>
            </a:solidFill>
            <a:miter lim="800000"/>
            <a:headEnd/>
            <a:tailEnd/>
          </a:ln>
        </p:spPr>
        <p:txBody>
          <a:bodyPr rtlCol="0" anchor="ctr"/>
          <a:lstStyle/>
          <a:p>
            <a:pPr algn="ctr"/>
            <a:endParaRPr lang="en-US">
              <a:solidFill>
                <a:schemeClr val="accent6"/>
              </a:solidFill>
            </a:endParaRPr>
          </a:p>
        </p:txBody>
      </p:sp>
      <p:sp>
        <p:nvSpPr>
          <p:cNvPr id="65" name="Rectangle 64"/>
          <p:cNvSpPr/>
          <p:nvPr/>
        </p:nvSpPr>
        <p:spPr>
          <a:xfrm>
            <a:off x="1908255" y="5393813"/>
            <a:ext cx="1828800" cy="4616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/>
              <a:t>Language: Pyth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/>
              <a:t>User Interface: </a:t>
            </a:r>
            <a:r>
              <a:rPr lang="en-US" sz="1000" dirty="0" err="1"/>
              <a:t>Streamlit</a:t>
            </a:r>
            <a:endParaRPr lang="en-US" sz="10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/>
              <a:t>LLM Framework: Llama 2</a:t>
            </a:r>
          </a:p>
        </p:txBody>
      </p:sp>
      <p:sp>
        <p:nvSpPr>
          <p:cNvPr id="66" name="Rectangle 65"/>
          <p:cNvSpPr/>
          <p:nvPr/>
        </p:nvSpPr>
        <p:spPr>
          <a:xfrm>
            <a:off x="1908255" y="5190608"/>
            <a:ext cx="1828800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US" sz="800" dirty="0">
                <a:solidFill>
                  <a:schemeClr val="accent4"/>
                </a:solidFill>
              </a:rPr>
              <a:t>Tech Stack</a:t>
            </a:r>
          </a:p>
        </p:txBody>
      </p:sp>
      <p:sp>
        <p:nvSpPr>
          <p:cNvPr id="67" name="Freeform 66"/>
          <p:cNvSpPr/>
          <p:nvPr/>
        </p:nvSpPr>
        <p:spPr bwMode="gray">
          <a:xfrm flipH="1" flipV="1">
            <a:off x="8043527" y="5534652"/>
            <a:ext cx="2205031" cy="217283"/>
          </a:xfrm>
          <a:custGeom>
            <a:avLst/>
            <a:gdLst>
              <a:gd name="connsiteX0" fmla="*/ 2127564 w 2127564"/>
              <a:gd name="connsiteY0" fmla="*/ 217283 h 217283"/>
              <a:gd name="connsiteX1" fmla="*/ 1765425 w 2127564"/>
              <a:gd name="connsiteY1" fmla="*/ 0 h 217283"/>
              <a:gd name="connsiteX2" fmla="*/ 0 w 2127564"/>
              <a:gd name="connsiteY2" fmla="*/ 0 h 2172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127564" h="217283">
                <a:moveTo>
                  <a:pt x="2127564" y="217283"/>
                </a:moveTo>
                <a:lnTo>
                  <a:pt x="1765425" y="0"/>
                </a:lnTo>
                <a:lnTo>
                  <a:pt x="0" y="0"/>
                </a:lnTo>
              </a:path>
            </a:pathLst>
          </a:custGeom>
          <a:noFill/>
          <a:ln w="9525" algn="ctr">
            <a:solidFill>
              <a:srgbClr val="BBBCBC"/>
            </a:solidFill>
            <a:miter lim="800000"/>
            <a:headEnd/>
            <a:tailEnd/>
          </a:ln>
        </p:spPr>
        <p:txBody>
          <a:bodyPr rtlCol="0" anchor="ctr"/>
          <a:lstStyle/>
          <a:p>
            <a:pPr algn="ctr"/>
            <a:endParaRPr lang="en-US">
              <a:solidFill>
                <a:schemeClr val="accent6"/>
              </a:solidFill>
            </a:endParaRPr>
          </a:p>
        </p:txBody>
      </p:sp>
      <p:sp>
        <p:nvSpPr>
          <p:cNvPr id="78" name="Rectangle 77"/>
          <p:cNvSpPr/>
          <p:nvPr/>
        </p:nvSpPr>
        <p:spPr>
          <a:xfrm>
            <a:off x="8419757" y="5784148"/>
            <a:ext cx="1828800" cy="76944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/>
              <a:t>Allow for more flexibility in the details you wish for the generator to conside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/>
              <a:t>Stand-alone application available online</a:t>
            </a:r>
          </a:p>
        </p:txBody>
      </p:sp>
      <p:sp>
        <p:nvSpPr>
          <p:cNvPr id="79" name="Rectangle 78"/>
          <p:cNvSpPr/>
          <p:nvPr/>
        </p:nvSpPr>
        <p:spPr>
          <a:xfrm>
            <a:off x="8419757" y="5580943"/>
            <a:ext cx="1828800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US" sz="800" dirty="0">
                <a:solidFill>
                  <a:schemeClr val="accent5"/>
                </a:solidFill>
              </a:rPr>
              <a:t>Further Development</a:t>
            </a:r>
          </a:p>
        </p:txBody>
      </p:sp>
      <p:sp>
        <p:nvSpPr>
          <p:cNvPr id="80" name="Oval 79"/>
          <p:cNvSpPr/>
          <p:nvPr/>
        </p:nvSpPr>
        <p:spPr>
          <a:xfrm>
            <a:off x="6336334" y="1491660"/>
            <a:ext cx="1905337" cy="1905337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>
            <a:noAutofit/>
          </a:bodyPr>
          <a:lstStyle/>
          <a:p>
            <a:pPr algn="ctr"/>
            <a:endParaRPr lang="en-US" sz="1400" err="1">
              <a:solidFill>
                <a:schemeClr val="tx2"/>
              </a:solidFill>
            </a:endParaRPr>
          </a:p>
        </p:txBody>
      </p:sp>
      <p:sp>
        <p:nvSpPr>
          <p:cNvPr id="81" name="Oval 80"/>
          <p:cNvSpPr>
            <a:spLocks noChangeAspect="1"/>
          </p:cNvSpPr>
          <p:nvPr/>
        </p:nvSpPr>
        <p:spPr>
          <a:xfrm>
            <a:off x="6397474" y="1552800"/>
            <a:ext cx="1783054" cy="1783054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>
            <a:noAutofit/>
          </a:bodyPr>
          <a:lstStyle/>
          <a:p>
            <a:pPr algn="ctr"/>
            <a:endParaRPr lang="en-US" sz="1400" err="1">
              <a:solidFill>
                <a:schemeClr val="tx2"/>
              </a:solidFill>
            </a:endParaRPr>
          </a:p>
        </p:txBody>
      </p:sp>
      <p:sp>
        <p:nvSpPr>
          <p:cNvPr id="82" name="Oval 81"/>
          <p:cNvSpPr/>
          <p:nvPr/>
        </p:nvSpPr>
        <p:spPr>
          <a:xfrm>
            <a:off x="6275192" y="4136949"/>
            <a:ext cx="1905337" cy="1905337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>
            <a:noAutofit/>
          </a:bodyPr>
          <a:lstStyle/>
          <a:p>
            <a:pPr algn="ctr"/>
            <a:endParaRPr lang="en-US" sz="1400" err="1">
              <a:solidFill>
                <a:schemeClr val="tx2"/>
              </a:solidFill>
            </a:endParaRPr>
          </a:p>
        </p:txBody>
      </p:sp>
      <p:sp>
        <p:nvSpPr>
          <p:cNvPr id="83" name="Oval 82"/>
          <p:cNvSpPr>
            <a:spLocks noChangeAspect="1"/>
          </p:cNvSpPr>
          <p:nvPr/>
        </p:nvSpPr>
        <p:spPr>
          <a:xfrm>
            <a:off x="6336332" y="4198089"/>
            <a:ext cx="1783054" cy="1783054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>
            <a:noAutofit/>
          </a:bodyPr>
          <a:lstStyle/>
          <a:p>
            <a:pPr algn="ctr"/>
            <a:endParaRPr lang="en-US" sz="1400" err="1">
              <a:solidFill>
                <a:schemeClr val="tx2"/>
              </a:solidFill>
            </a:endParaRPr>
          </a:p>
        </p:txBody>
      </p:sp>
      <p:sp>
        <p:nvSpPr>
          <p:cNvPr id="84" name="Oval 83"/>
          <p:cNvSpPr/>
          <p:nvPr/>
        </p:nvSpPr>
        <p:spPr>
          <a:xfrm>
            <a:off x="3551813" y="3401008"/>
            <a:ext cx="1905337" cy="1905337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>
            <a:noAutofit/>
          </a:bodyPr>
          <a:lstStyle/>
          <a:p>
            <a:pPr algn="ctr"/>
            <a:endParaRPr lang="en-US" sz="1400" err="1">
              <a:solidFill>
                <a:schemeClr val="tx2"/>
              </a:solidFill>
            </a:endParaRPr>
          </a:p>
        </p:txBody>
      </p:sp>
      <p:sp>
        <p:nvSpPr>
          <p:cNvPr id="85" name="Oval 84"/>
          <p:cNvSpPr>
            <a:spLocks noChangeAspect="1"/>
          </p:cNvSpPr>
          <p:nvPr/>
        </p:nvSpPr>
        <p:spPr>
          <a:xfrm>
            <a:off x="3612953" y="3462148"/>
            <a:ext cx="1783054" cy="1783054"/>
          </a:xfrm>
          <a:prstGeom prst="ellipse">
            <a:avLst/>
          </a:prstGeom>
          <a:solidFill>
            <a:schemeClr val="accent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>
            <a:noAutofit/>
          </a:bodyPr>
          <a:lstStyle/>
          <a:p>
            <a:pPr algn="ctr"/>
            <a:endParaRPr lang="en-US" sz="1400" err="1">
              <a:solidFill>
                <a:schemeClr val="tx2"/>
              </a:solidFill>
            </a:endParaRPr>
          </a:p>
        </p:txBody>
      </p:sp>
      <p:sp>
        <p:nvSpPr>
          <p:cNvPr id="86" name="Oval 85"/>
          <p:cNvSpPr/>
          <p:nvPr/>
        </p:nvSpPr>
        <p:spPr>
          <a:xfrm>
            <a:off x="4003859" y="1255571"/>
            <a:ext cx="1905337" cy="1905337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>
            <a:noAutofit/>
          </a:bodyPr>
          <a:lstStyle/>
          <a:p>
            <a:pPr algn="ctr"/>
            <a:endParaRPr lang="en-US" sz="1400" err="1">
              <a:solidFill>
                <a:schemeClr val="tx2"/>
              </a:solidFill>
            </a:endParaRPr>
          </a:p>
        </p:txBody>
      </p:sp>
      <p:sp>
        <p:nvSpPr>
          <p:cNvPr id="87" name="Oval 86"/>
          <p:cNvSpPr>
            <a:spLocks noChangeAspect="1"/>
          </p:cNvSpPr>
          <p:nvPr/>
        </p:nvSpPr>
        <p:spPr>
          <a:xfrm>
            <a:off x="4065000" y="1316712"/>
            <a:ext cx="1783054" cy="1783054"/>
          </a:xfrm>
          <a:prstGeom prst="ellipse">
            <a:avLst/>
          </a:prstGeom>
          <a:solidFill>
            <a:schemeClr val="accent3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>
            <a:noAutofit/>
          </a:bodyPr>
          <a:lstStyle/>
          <a:p>
            <a:pPr algn="ctr"/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88" name="Oval 87"/>
          <p:cNvSpPr/>
          <p:nvPr/>
        </p:nvSpPr>
        <p:spPr>
          <a:xfrm>
            <a:off x="4569435" y="2152819"/>
            <a:ext cx="3054010" cy="3054010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>
            <a:noAutofit/>
          </a:bodyPr>
          <a:lstStyle/>
          <a:p>
            <a:pPr algn="ctr"/>
            <a:endParaRPr lang="en-US" sz="1400" err="1">
              <a:solidFill>
                <a:schemeClr val="tx2"/>
              </a:solidFill>
            </a:endParaRPr>
          </a:p>
        </p:txBody>
      </p:sp>
      <p:sp>
        <p:nvSpPr>
          <p:cNvPr id="89" name="Oval 88"/>
          <p:cNvSpPr>
            <a:spLocks noChangeAspect="1"/>
          </p:cNvSpPr>
          <p:nvPr/>
        </p:nvSpPr>
        <p:spPr>
          <a:xfrm>
            <a:off x="4667323" y="2239566"/>
            <a:ext cx="2858007" cy="2858007"/>
          </a:xfrm>
          <a:prstGeom prst="ellipse">
            <a:avLst/>
          </a:prstGeom>
          <a:solidFill>
            <a:schemeClr val="accent6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>
            <a:noAutofit/>
          </a:bodyPr>
          <a:lstStyle/>
          <a:p>
            <a:pPr algn="ctr"/>
            <a:endParaRPr lang="en-US" sz="1400" err="1">
              <a:solidFill>
                <a:schemeClr val="tx2"/>
              </a:solidFill>
            </a:endParaRPr>
          </a:p>
        </p:txBody>
      </p:sp>
      <p:sp>
        <p:nvSpPr>
          <p:cNvPr id="90" name="Rectangle 89"/>
          <p:cNvSpPr/>
          <p:nvPr/>
        </p:nvSpPr>
        <p:spPr>
          <a:xfrm>
            <a:off x="5169575" y="2602608"/>
            <a:ext cx="2007085" cy="2154436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Outcomes and Relevance</a:t>
            </a:r>
            <a:endParaRPr lang="en-US" sz="1000" dirty="0">
              <a:solidFill>
                <a:schemeClr val="bg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bg1"/>
                </a:solidFill>
              </a:rPr>
              <a:t>The application can take the user’s resume and generate a statement of interest that is tailored to the role description provide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bg1"/>
                </a:solidFill>
              </a:rPr>
              <a:t>The user has options of what style the statement is written in (neutral, excited, over-the-top bragging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bg1"/>
                </a:solidFill>
              </a:rPr>
              <a:t>This will save time and allow for Deloitte professionals on the bench to maximize their outreach to project leadership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000" dirty="0">
              <a:solidFill>
                <a:schemeClr val="bg1"/>
              </a:solidFill>
            </a:endParaRPr>
          </a:p>
        </p:txBody>
      </p:sp>
      <p:grpSp>
        <p:nvGrpSpPr>
          <p:cNvPr id="3" name="Graphic 4">
            <a:extLst>
              <a:ext uri="{FF2B5EF4-FFF2-40B4-BE49-F238E27FC236}">
                <a16:creationId xmlns:a16="http://schemas.microsoft.com/office/drawing/2014/main" id="{DCE42EA0-D448-D361-75CD-16CDE1869A82}"/>
              </a:ext>
            </a:extLst>
          </p:cNvPr>
          <p:cNvGrpSpPr>
            <a:grpSpLocks noChangeAspect="1"/>
          </p:cNvGrpSpPr>
          <p:nvPr/>
        </p:nvGrpSpPr>
        <p:grpSpPr>
          <a:xfrm>
            <a:off x="4558747" y="1711225"/>
            <a:ext cx="721299" cy="720620"/>
            <a:chOff x="8840477" y="3339623"/>
            <a:chExt cx="362312" cy="361971"/>
          </a:xfrm>
          <a:solidFill>
            <a:schemeClr val="bg1"/>
          </a:solidFill>
        </p:grpSpPr>
        <p:sp>
          <p:nvSpPr>
            <p:cNvPr id="4" name="Graphic 4">
              <a:extLst>
                <a:ext uri="{FF2B5EF4-FFF2-40B4-BE49-F238E27FC236}">
                  <a16:creationId xmlns:a16="http://schemas.microsoft.com/office/drawing/2014/main" id="{5E6DC2B2-DD12-89BD-D3E1-E3666EEB6112}"/>
                </a:ext>
              </a:extLst>
            </p:cNvPr>
            <p:cNvSpPr/>
            <p:nvPr/>
          </p:nvSpPr>
          <p:spPr>
            <a:xfrm>
              <a:off x="8840477" y="3339623"/>
              <a:ext cx="362312" cy="361971"/>
            </a:xfrm>
            <a:custGeom>
              <a:avLst/>
              <a:gdLst>
                <a:gd name="connsiteX0" fmla="*/ 181474 w 362312"/>
                <a:gd name="connsiteY0" fmla="*/ 0 h 361971"/>
                <a:gd name="connsiteX1" fmla="*/ 0 w 362312"/>
                <a:gd name="connsiteY1" fmla="*/ 180667 h 361971"/>
                <a:gd name="connsiteX2" fmla="*/ 180836 w 362312"/>
                <a:gd name="connsiteY2" fmla="*/ 361972 h 361971"/>
                <a:gd name="connsiteX3" fmla="*/ 362309 w 362312"/>
                <a:gd name="connsiteY3" fmla="*/ 181305 h 361971"/>
                <a:gd name="connsiteX4" fmla="*/ 362309 w 362312"/>
                <a:gd name="connsiteY4" fmla="*/ 181305 h 361971"/>
                <a:gd name="connsiteX5" fmla="*/ 181474 w 362312"/>
                <a:gd name="connsiteY5" fmla="*/ 0 h 361971"/>
                <a:gd name="connsiteX6" fmla="*/ 181474 w 362312"/>
                <a:gd name="connsiteY6" fmla="*/ 349204 h 361971"/>
                <a:gd name="connsiteX7" fmla="*/ 12780 w 362312"/>
                <a:gd name="connsiteY7" fmla="*/ 181305 h 361971"/>
                <a:gd name="connsiteX8" fmla="*/ 180836 w 362312"/>
                <a:gd name="connsiteY8" fmla="*/ 12768 h 361971"/>
                <a:gd name="connsiteX9" fmla="*/ 349529 w 362312"/>
                <a:gd name="connsiteY9" fmla="*/ 180667 h 361971"/>
                <a:gd name="connsiteX10" fmla="*/ 349529 w 362312"/>
                <a:gd name="connsiteY10" fmla="*/ 180667 h 361971"/>
                <a:gd name="connsiteX11" fmla="*/ 181474 w 362312"/>
                <a:gd name="connsiteY11" fmla="*/ 349204 h 361971"/>
                <a:gd name="connsiteX12" fmla="*/ 181474 w 362312"/>
                <a:gd name="connsiteY12" fmla="*/ 349204 h 361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62312" h="361971">
                  <a:moveTo>
                    <a:pt x="181474" y="0"/>
                  </a:moveTo>
                  <a:cubicBezTo>
                    <a:pt x="81152" y="0"/>
                    <a:pt x="0" y="81077"/>
                    <a:pt x="0" y="180667"/>
                  </a:cubicBezTo>
                  <a:cubicBezTo>
                    <a:pt x="0" y="280895"/>
                    <a:pt x="81152" y="361972"/>
                    <a:pt x="180836" y="361972"/>
                  </a:cubicBezTo>
                  <a:cubicBezTo>
                    <a:pt x="281157" y="361972"/>
                    <a:pt x="362309" y="280895"/>
                    <a:pt x="362309" y="181305"/>
                  </a:cubicBezTo>
                  <a:cubicBezTo>
                    <a:pt x="362309" y="181305"/>
                    <a:pt x="362309" y="181305"/>
                    <a:pt x="362309" y="181305"/>
                  </a:cubicBezTo>
                  <a:cubicBezTo>
                    <a:pt x="362949" y="81077"/>
                    <a:pt x="281796" y="0"/>
                    <a:pt x="181474" y="0"/>
                  </a:cubicBezTo>
                  <a:close/>
                  <a:moveTo>
                    <a:pt x="181474" y="349204"/>
                  </a:moveTo>
                  <a:cubicBezTo>
                    <a:pt x="88181" y="349204"/>
                    <a:pt x="12780" y="273873"/>
                    <a:pt x="12780" y="181305"/>
                  </a:cubicBezTo>
                  <a:cubicBezTo>
                    <a:pt x="12780" y="88099"/>
                    <a:pt x="88181" y="12768"/>
                    <a:pt x="180836" y="12768"/>
                  </a:cubicBezTo>
                  <a:cubicBezTo>
                    <a:pt x="274128" y="12768"/>
                    <a:pt x="349529" y="88099"/>
                    <a:pt x="349529" y="180667"/>
                  </a:cubicBezTo>
                  <a:cubicBezTo>
                    <a:pt x="349529" y="180667"/>
                    <a:pt x="349529" y="180667"/>
                    <a:pt x="349529" y="180667"/>
                  </a:cubicBezTo>
                  <a:cubicBezTo>
                    <a:pt x="350169" y="273873"/>
                    <a:pt x="274767" y="349204"/>
                    <a:pt x="181474" y="349204"/>
                  </a:cubicBezTo>
                  <a:lnTo>
                    <a:pt x="181474" y="349204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" name="Graphic 4">
              <a:extLst>
                <a:ext uri="{FF2B5EF4-FFF2-40B4-BE49-F238E27FC236}">
                  <a16:creationId xmlns:a16="http://schemas.microsoft.com/office/drawing/2014/main" id="{CC38710F-7816-8082-0C24-46A52A027DDB}"/>
                </a:ext>
              </a:extLst>
            </p:cNvPr>
            <p:cNvSpPr/>
            <p:nvPr/>
          </p:nvSpPr>
          <p:spPr>
            <a:xfrm>
              <a:off x="8984639" y="3522107"/>
              <a:ext cx="105144" cy="104795"/>
            </a:xfrm>
            <a:custGeom>
              <a:avLst/>
              <a:gdLst>
                <a:gd name="connsiteX0" fmla="*/ 97378 w 105144"/>
                <a:gd name="connsiteY0" fmla="*/ 98 h 104795"/>
                <a:gd name="connsiteX1" fmla="*/ 51370 w 105144"/>
                <a:gd name="connsiteY1" fmla="*/ 11590 h 104795"/>
                <a:gd name="connsiteX2" fmla="*/ 46259 w 105144"/>
                <a:gd name="connsiteY2" fmla="*/ 17974 h 104795"/>
                <a:gd name="connsiteX3" fmla="*/ 46259 w 105144"/>
                <a:gd name="connsiteY3" fmla="*/ 53724 h 104795"/>
                <a:gd name="connsiteX4" fmla="*/ 28366 w 105144"/>
                <a:gd name="connsiteY4" fmla="*/ 53724 h 104795"/>
                <a:gd name="connsiteX5" fmla="*/ 28366 w 105144"/>
                <a:gd name="connsiteY5" fmla="*/ 29465 h 104795"/>
                <a:gd name="connsiteX6" fmla="*/ 21977 w 105144"/>
                <a:gd name="connsiteY6" fmla="*/ 23081 h 104795"/>
                <a:gd name="connsiteX7" fmla="*/ 15587 w 105144"/>
                <a:gd name="connsiteY7" fmla="*/ 29465 h 104795"/>
                <a:gd name="connsiteX8" fmla="*/ 15587 w 105144"/>
                <a:gd name="connsiteY8" fmla="*/ 53724 h 104795"/>
                <a:gd name="connsiteX9" fmla="*/ 6641 w 105144"/>
                <a:gd name="connsiteY9" fmla="*/ 53724 h 104795"/>
                <a:gd name="connsiteX10" fmla="*/ 1529 w 105144"/>
                <a:gd name="connsiteY10" fmla="*/ 56278 h 104795"/>
                <a:gd name="connsiteX11" fmla="*/ 251 w 105144"/>
                <a:gd name="connsiteY11" fmla="*/ 61385 h 104795"/>
                <a:gd name="connsiteX12" fmla="*/ 7919 w 105144"/>
                <a:gd name="connsiteY12" fmla="*/ 99689 h 104795"/>
                <a:gd name="connsiteX13" fmla="*/ 14309 w 105144"/>
                <a:gd name="connsiteY13" fmla="*/ 104796 h 104795"/>
                <a:gd name="connsiteX14" fmla="*/ 60316 w 105144"/>
                <a:gd name="connsiteY14" fmla="*/ 104796 h 104795"/>
                <a:gd name="connsiteX15" fmla="*/ 66706 w 105144"/>
                <a:gd name="connsiteY15" fmla="*/ 99689 h 104795"/>
                <a:gd name="connsiteX16" fmla="*/ 74374 w 105144"/>
                <a:gd name="connsiteY16" fmla="*/ 61385 h 104795"/>
                <a:gd name="connsiteX17" fmla="*/ 69262 w 105144"/>
                <a:gd name="connsiteY17" fmla="*/ 53724 h 104795"/>
                <a:gd name="connsiteX18" fmla="*/ 67984 w 105144"/>
                <a:gd name="connsiteY18" fmla="*/ 53724 h 104795"/>
                <a:gd name="connsiteX19" fmla="*/ 59038 w 105144"/>
                <a:gd name="connsiteY19" fmla="*/ 53724 h 104795"/>
                <a:gd name="connsiteX20" fmla="*/ 59038 w 105144"/>
                <a:gd name="connsiteY20" fmla="*/ 23081 h 104795"/>
                <a:gd name="connsiteX21" fmla="*/ 99933 w 105144"/>
                <a:gd name="connsiteY21" fmla="*/ 12866 h 104795"/>
                <a:gd name="connsiteX22" fmla="*/ 105046 w 105144"/>
                <a:gd name="connsiteY22" fmla="*/ 5206 h 104795"/>
                <a:gd name="connsiteX23" fmla="*/ 97378 w 105144"/>
                <a:gd name="connsiteY23" fmla="*/ 98 h 104795"/>
                <a:gd name="connsiteX24" fmla="*/ 97378 w 105144"/>
                <a:gd name="connsiteY24" fmla="*/ 98 h 104795"/>
                <a:gd name="connsiteX25" fmla="*/ 97378 w 105144"/>
                <a:gd name="connsiteY25" fmla="*/ 98 h 104795"/>
                <a:gd name="connsiteX26" fmla="*/ 55204 w 105144"/>
                <a:gd name="connsiteY26" fmla="*/ 92028 h 104795"/>
                <a:gd name="connsiteX27" fmla="*/ 19420 w 105144"/>
                <a:gd name="connsiteY27" fmla="*/ 92028 h 104795"/>
                <a:gd name="connsiteX28" fmla="*/ 14309 w 105144"/>
                <a:gd name="connsiteY28" fmla="*/ 66492 h 104795"/>
                <a:gd name="connsiteX29" fmla="*/ 60316 w 105144"/>
                <a:gd name="connsiteY29" fmla="*/ 66492 h 104795"/>
                <a:gd name="connsiteX30" fmla="*/ 55204 w 105144"/>
                <a:gd name="connsiteY30" fmla="*/ 92028 h 104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05144" h="104795">
                  <a:moveTo>
                    <a:pt x="97378" y="98"/>
                  </a:moveTo>
                  <a:lnTo>
                    <a:pt x="51370" y="11590"/>
                  </a:lnTo>
                  <a:cubicBezTo>
                    <a:pt x="48175" y="12228"/>
                    <a:pt x="46259" y="14782"/>
                    <a:pt x="46259" y="17974"/>
                  </a:cubicBezTo>
                  <a:lnTo>
                    <a:pt x="46259" y="53724"/>
                  </a:lnTo>
                  <a:lnTo>
                    <a:pt x="28366" y="53724"/>
                  </a:lnTo>
                  <a:lnTo>
                    <a:pt x="28366" y="29465"/>
                  </a:lnTo>
                  <a:cubicBezTo>
                    <a:pt x="28366" y="25634"/>
                    <a:pt x="25810" y="23081"/>
                    <a:pt x="21977" y="23081"/>
                  </a:cubicBezTo>
                  <a:cubicBezTo>
                    <a:pt x="18143" y="23081"/>
                    <a:pt x="15587" y="25634"/>
                    <a:pt x="15587" y="29465"/>
                  </a:cubicBezTo>
                  <a:lnTo>
                    <a:pt x="15587" y="53724"/>
                  </a:lnTo>
                  <a:lnTo>
                    <a:pt x="6641" y="53724"/>
                  </a:lnTo>
                  <a:cubicBezTo>
                    <a:pt x="4724" y="53724"/>
                    <a:pt x="2807" y="54362"/>
                    <a:pt x="1529" y="56278"/>
                  </a:cubicBezTo>
                  <a:cubicBezTo>
                    <a:pt x="251" y="57554"/>
                    <a:pt x="-388" y="59470"/>
                    <a:pt x="251" y="61385"/>
                  </a:cubicBezTo>
                  <a:lnTo>
                    <a:pt x="7919" y="99689"/>
                  </a:lnTo>
                  <a:cubicBezTo>
                    <a:pt x="8558" y="102881"/>
                    <a:pt x="11114" y="104796"/>
                    <a:pt x="14309" y="104796"/>
                  </a:cubicBezTo>
                  <a:lnTo>
                    <a:pt x="60316" y="104796"/>
                  </a:lnTo>
                  <a:cubicBezTo>
                    <a:pt x="63511" y="104796"/>
                    <a:pt x="66067" y="102881"/>
                    <a:pt x="66706" y="99689"/>
                  </a:cubicBezTo>
                  <a:lnTo>
                    <a:pt x="74374" y="61385"/>
                  </a:lnTo>
                  <a:cubicBezTo>
                    <a:pt x="75013" y="58193"/>
                    <a:pt x="73096" y="54362"/>
                    <a:pt x="69262" y="53724"/>
                  </a:cubicBezTo>
                  <a:cubicBezTo>
                    <a:pt x="68623" y="53724"/>
                    <a:pt x="68623" y="53724"/>
                    <a:pt x="67984" y="53724"/>
                  </a:cubicBezTo>
                  <a:lnTo>
                    <a:pt x="59038" y="53724"/>
                  </a:lnTo>
                  <a:lnTo>
                    <a:pt x="59038" y="23081"/>
                  </a:lnTo>
                  <a:lnTo>
                    <a:pt x="99933" y="12866"/>
                  </a:lnTo>
                  <a:cubicBezTo>
                    <a:pt x="103128" y="12228"/>
                    <a:pt x="105685" y="9036"/>
                    <a:pt x="105046" y="5206"/>
                  </a:cubicBezTo>
                  <a:cubicBezTo>
                    <a:pt x="105046" y="2014"/>
                    <a:pt x="101212" y="-540"/>
                    <a:pt x="97378" y="98"/>
                  </a:cubicBezTo>
                  <a:cubicBezTo>
                    <a:pt x="98017" y="98"/>
                    <a:pt x="97378" y="98"/>
                    <a:pt x="97378" y="98"/>
                  </a:cubicBezTo>
                  <a:lnTo>
                    <a:pt x="97378" y="98"/>
                  </a:lnTo>
                  <a:close/>
                  <a:moveTo>
                    <a:pt x="55204" y="92028"/>
                  </a:moveTo>
                  <a:lnTo>
                    <a:pt x="19420" y="92028"/>
                  </a:lnTo>
                  <a:lnTo>
                    <a:pt x="14309" y="66492"/>
                  </a:lnTo>
                  <a:lnTo>
                    <a:pt x="60316" y="66492"/>
                  </a:lnTo>
                  <a:lnTo>
                    <a:pt x="55204" y="92028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Graphic 4">
              <a:extLst>
                <a:ext uri="{FF2B5EF4-FFF2-40B4-BE49-F238E27FC236}">
                  <a16:creationId xmlns:a16="http://schemas.microsoft.com/office/drawing/2014/main" id="{5B7A401B-5A7E-2BE0-A9A6-5E1006CA1BEB}"/>
                </a:ext>
              </a:extLst>
            </p:cNvPr>
            <p:cNvSpPr/>
            <p:nvPr/>
          </p:nvSpPr>
          <p:spPr>
            <a:xfrm>
              <a:off x="8953579" y="3460919"/>
              <a:ext cx="136744" cy="43411"/>
            </a:xfrm>
            <a:custGeom>
              <a:avLst/>
              <a:gdLst>
                <a:gd name="connsiteX0" fmla="*/ 128438 w 136744"/>
                <a:gd name="connsiteY0" fmla="*/ 0 h 43411"/>
                <a:gd name="connsiteX1" fmla="*/ 67094 w 136744"/>
                <a:gd name="connsiteY1" fmla="*/ 15322 h 43411"/>
                <a:gd name="connsiteX2" fmla="*/ 5751 w 136744"/>
                <a:gd name="connsiteY2" fmla="*/ 30643 h 43411"/>
                <a:gd name="connsiteX3" fmla="*/ 0 w 136744"/>
                <a:gd name="connsiteY3" fmla="*/ 37666 h 43411"/>
                <a:gd name="connsiteX4" fmla="*/ 7030 w 136744"/>
                <a:gd name="connsiteY4" fmla="*/ 43411 h 43411"/>
                <a:gd name="connsiteX5" fmla="*/ 8307 w 136744"/>
                <a:gd name="connsiteY5" fmla="*/ 43411 h 43411"/>
                <a:gd name="connsiteX6" fmla="*/ 69650 w 136744"/>
                <a:gd name="connsiteY6" fmla="*/ 28090 h 43411"/>
                <a:gd name="connsiteX7" fmla="*/ 130994 w 136744"/>
                <a:gd name="connsiteY7" fmla="*/ 12768 h 43411"/>
                <a:gd name="connsiteX8" fmla="*/ 136745 w 136744"/>
                <a:gd name="connsiteY8" fmla="*/ 5746 h 43411"/>
                <a:gd name="connsiteX9" fmla="*/ 129716 w 136744"/>
                <a:gd name="connsiteY9" fmla="*/ 0 h 43411"/>
                <a:gd name="connsiteX10" fmla="*/ 128438 w 136744"/>
                <a:gd name="connsiteY10" fmla="*/ 0 h 43411"/>
                <a:gd name="connsiteX11" fmla="*/ 128438 w 136744"/>
                <a:gd name="connsiteY11" fmla="*/ 0 h 434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36744" h="43411">
                  <a:moveTo>
                    <a:pt x="128438" y="0"/>
                  </a:moveTo>
                  <a:lnTo>
                    <a:pt x="67094" y="15322"/>
                  </a:lnTo>
                  <a:lnTo>
                    <a:pt x="5751" y="30643"/>
                  </a:lnTo>
                  <a:cubicBezTo>
                    <a:pt x="1917" y="31282"/>
                    <a:pt x="0" y="34474"/>
                    <a:pt x="0" y="37666"/>
                  </a:cubicBezTo>
                  <a:cubicBezTo>
                    <a:pt x="0" y="40858"/>
                    <a:pt x="3835" y="43411"/>
                    <a:pt x="7030" y="43411"/>
                  </a:cubicBezTo>
                  <a:lnTo>
                    <a:pt x="8307" y="43411"/>
                  </a:lnTo>
                  <a:lnTo>
                    <a:pt x="69650" y="28090"/>
                  </a:lnTo>
                  <a:lnTo>
                    <a:pt x="130994" y="12768"/>
                  </a:lnTo>
                  <a:cubicBezTo>
                    <a:pt x="134189" y="12130"/>
                    <a:pt x="136745" y="8938"/>
                    <a:pt x="136745" y="5746"/>
                  </a:cubicBezTo>
                  <a:cubicBezTo>
                    <a:pt x="136106" y="2554"/>
                    <a:pt x="132911" y="0"/>
                    <a:pt x="129716" y="0"/>
                  </a:cubicBezTo>
                  <a:cubicBezTo>
                    <a:pt x="129077" y="0"/>
                    <a:pt x="129077" y="0"/>
                    <a:pt x="128438" y="0"/>
                  </a:cubicBezTo>
                  <a:lnTo>
                    <a:pt x="128438" y="0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Graphic 4">
              <a:extLst>
                <a:ext uri="{FF2B5EF4-FFF2-40B4-BE49-F238E27FC236}">
                  <a16:creationId xmlns:a16="http://schemas.microsoft.com/office/drawing/2014/main" id="{E66A9B0B-7F27-A281-9D17-35D73A6AB916}"/>
                </a:ext>
              </a:extLst>
            </p:cNvPr>
            <p:cNvSpPr/>
            <p:nvPr/>
          </p:nvSpPr>
          <p:spPr>
            <a:xfrm>
              <a:off x="8953579" y="3491464"/>
              <a:ext cx="136204" cy="43509"/>
            </a:xfrm>
            <a:custGeom>
              <a:avLst/>
              <a:gdLst>
                <a:gd name="connsiteX0" fmla="*/ 128438 w 136204"/>
                <a:gd name="connsiteY0" fmla="*/ 98 h 43509"/>
                <a:gd name="connsiteX1" fmla="*/ 67094 w 136204"/>
                <a:gd name="connsiteY1" fmla="*/ 15420 h 43509"/>
                <a:gd name="connsiteX2" fmla="*/ 5751 w 136204"/>
                <a:gd name="connsiteY2" fmla="*/ 30741 h 43509"/>
                <a:gd name="connsiteX3" fmla="*/ 0 w 136204"/>
                <a:gd name="connsiteY3" fmla="*/ 37764 h 43509"/>
                <a:gd name="connsiteX4" fmla="*/ 7030 w 136204"/>
                <a:gd name="connsiteY4" fmla="*/ 43509 h 43509"/>
                <a:gd name="connsiteX5" fmla="*/ 8307 w 136204"/>
                <a:gd name="connsiteY5" fmla="*/ 43509 h 43509"/>
                <a:gd name="connsiteX6" fmla="*/ 69650 w 136204"/>
                <a:gd name="connsiteY6" fmla="*/ 28188 h 43509"/>
                <a:gd name="connsiteX7" fmla="*/ 130994 w 136204"/>
                <a:gd name="connsiteY7" fmla="*/ 12866 h 43509"/>
                <a:gd name="connsiteX8" fmla="*/ 136106 w 136204"/>
                <a:gd name="connsiteY8" fmla="*/ 5206 h 43509"/>
                <a:gd name="connsiteX9" fmla="*/ 128438 w 136204"/>
                <a:gd name="connsiteY9" fmla="*/ 98 h 43509"/>
                <a:gd name="connsiteX10" fmla="*/ 128438 w 136204"/>
                <a:gd name="connsiteY10" fmla="*/ 98 h 43509"/>
                <a:gd name="connsiteX11" fmla="*/ 128438 w 136204"/>
                <a:gd name="connsiteY11" fmla="*/ 98 h 435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36204" h="43509">
                  <a:moveTo>
                    <a:pt x="128438" y="98"/>
                  </a:moveTo>
                  <a:lnTo>
                    <a:pt x="67094" y="15420"/>
                  </a:lnTo>
                  <a:lnTo>
                    <a:pt x="5751" y="30741"/>
                  </a:lnTo>
                  <a:cubicBezTo>
                    <a:pt x="1917" y="31380"/>
                    <a:pt x="0" y="34572"/>
                    <a:pt x="0" y="37764"/>
                  </a:cubicBezTo>
                  <a:cubicBezTo>
                    <a:pt x="0" y="40956"/>
                    <a:pt x="3835" y="43509"/>
                    <a:pt x="7030" y="43509"/>
                  </a:cubicBezTo>
                  <a:lnTo>
                    <a:pt x="8307" y="43509"/>
                  </a:lnTo>
                  <a:lnTo>
                    <a:pt x="69650" y="28188"/>
                  </a:lnTo>
                  <a:lnTo>
                    <a:pt x="130994" y="12866"/>
                  </a:lnTo>
                  <a:cubicBezTo>
                    <a:pt x="134189" y="12228"/>
                    <a:pt x="136745" y="9036"/>
                    <a:pt x="136106" y="5206"/>
                  </a:cubicBezTo>
                  <a:cubicBezTo>
                    <a:pt x="135467" y="2014"/>
                    <a:pt x="132272" y="-540"/>
                    <a:pt x="128438" y="98"/>
                  </a:cubicBezTo>
                  <a:cubicBezTo>
                    <a:pt x="128438" y="737"/>
                    <a:pt x="128438" y="737"/>
                    <a:pt x="128438" y="98"/>
                  </a:cubicBezTo>
                  <a:lnTo>
                    <a:pt x="128438" y="98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Graphic 4">
              <a:extLst>
                <a:ext uri="{FF2B5EF4-FFF2-40B4-BE49-F238E27FC236}">
                  <a16:creationId xmlns:a16="http://schemas.microsoft.com/office/drawing/2014/main" id="{229DF18C-062F-6B5B-A4C5-64587544EC52}"/>
                </a:ext>
              </a:extLst>
            </p:cNvPr>
            <p:cNvSpPr/>
            <p:nvPr/>
          </p:nvSpPr>
          <p:spPr>
            <a:xfrm>
              <a:off x="8953882" y="3414856"/>
              <a:ext cx="74557" cy="28188"/>
            </a:xfrm>
            <a:custGeom>
              <a:avLst/>
              <a:gdLst>
                <a:gd name="connsiteX0" fmla="*/ 6726 w 74557"/>
                <a:gd name="connsiteY0" fmla="*/ 28188 h 28188"/>
                <a:gd name="connsiteX1" fmla="*/ 8004 w 74557"/>
                <a:gd name="connsiteY1" fmla="*/ 28188 h 28188"/>
                <a:gd name="connsiteX2" fmla="*/ 69347 w 74557"/>
                <a:gd name="connsiteY2" fmla="*/ 12866 h 28188"/>
                <a:gd name="connsiteX3" fmla="*/ 74459 w 74557"/>
                <a:gd name="connsiteY3" fmla="*/ 5206 h 28188"/>
                <a:gd name="connsiteX4" fmla="*/ 66791 w 74557"/>
                <a:gd name="connsiteY4" fmla="*/ 98 h 28188"/>
                <a:gd name="connsiteX5" fmla="*/ 66152 w 74557"/>
                <a:gd name="connsiteY5" fmla="*/ 98 h 28188"/>
                <a:gd name="connsiteX6" fmla="*/ 4809 w 74557"/>
                <a:gd name="connsiteY6" fmla="*/ 15420 h 28188"/>
                <a:gd name="connsiteX7" fmla="*/ 336 w 74557"/>
                <a:gd name="connsiteY7" fmla="*/ 23081 h 28188"/>
                <a:gd name="connsiteX8" fmla="*/ 336 w 74557"/>
                <a:gd name="connsiteY8" fmla="*/ 23081 h 28188"/>
                <a:gd name="connsiteX9" fmla="*/ 6726 w 74557"/>
                <a:gd name="connsiteY9" fmla="*/ 28188 h 281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4557" h="28188">
                  <a:moveTo>
                    <a:pt x="6726" y="28188"/>
                  </a:moveTo>
                  <a:lnTo>
                    <a:pt x="8004" y="28188"/>
                  </a:lnTo>
                  <a:lnTo>
                    <a:pt x="69347" y="12866"/>
                  </a:lnTo>
                  <a:cubicBezTo>
                    <a:pt x="72542" y="12228"/>
                    <a:pt x="75098" y="9036"/>
                    <a:pt x="74459" y="5206"/>
                  </a:cubicBezTo>
                  <a:cubicBezTo>
                    <a:pt x="73821" y="2014"/>
                    <a:pt x="70626" y="-540"/>
                    <a:pt x="66791" y="98"/>
                  </a:cubicBezTo>
                  <a:cubicBezTo>
                    <a:pt x="66791" y="98"/>
                    <a:pt x="66152" y="98"/>
                    <a:pt x="66152" y="98"/>
                  </a:cubicBezTo>
                  <a:lnTo>
                    <a:pt x="4809" y="15420"/>
                  </a:lnTo>
                  <a:cubicBezTo>
                    <a:pt x="1614" y="16058"/>
                    <a:pt x="-942" y="19889"/>
                    <a:pt x="336" y="23081"/>
                  </a:cubicBezTo>
                  <a:cubicBezTo>
                    <a:pt x="336" y="23081"/>
                    <a:pt x="336" y="23081"/>
                    <a:pt x="336" y="23081"/>
                  </a:cubicBezTo>
                  <a:cubicBezTo>
                    <a:pt x="1614" y="26273"/>
                    <a:pt x="4170" y="28188"/>
                    <a:pt x="6726" y="28188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Graphic 4">
              <a:extLst>
                <a:ext uri="{FF2B5EF4-FFF2-40B4-BE49-F238E27FC236}">
                  <a16:creationId xmlns:a16="http://schemas.microsoft.com/office/drawing/2014/main" id="{A14F4C04-39B5-6FB2-C334-0A5FD1D0B933}"/>
                </a:ext>
              </a:extLst>
            </p:cNvPr>
            <p:cNvSpPr/>
            <p:nvPr/>
          </p:nvSpPr>
          <p:spPr>
            <a:xfrm>
              <a:off x="8953579" y="3430177"/>
              <a:ext cx="135803" cy="43509"/>
            </a:xfrm>
            <a:custGeom>
              <a:avLst/>
              <a:gdLst>
                <a:gd name="connsiteX0" fmla="*/ 128438 w 135803"/>
                <a:gd name="connsiteY0" fmla="*/ 99 h 43509"/>
                <a:gd name="connsiteX1" fmla="*/ 67094 w 135803"/>
                <a:gd name="connsiteY1" fmla="*/ 15420 h 43509"/>
                <a:gd name="connsiteX2" fmla="*/ 5751 w 135803"/>
                <a:gd name="connsiteY2" fmla="*/ 30742 h 43509"/>
                <a:gd name="connsiteX3" fmla="*/ 0 w 135803"/>
                <a:gd name="connsiteY3" fmla="*/ 37764 h 43509"/>
                <a:gd name="connsiteX4" fmla="*/ 7030 w 135803"/>
                <a:gd name="connsiteY4" fmla="*/ 43510 h 43509"/>
                <a:gd name="connsiteX5" fmla="*/ 8307 w 135803"/>
                <a:gd name="connsiteY5" fmla="*/ 43510 h 43509"/>
                <a:gd name="connsiteX6" fmla="*/ 69650 w 135803"/>
                <a:gd name="connsiteY6" fmla="*/ 28188 h 43509"/>
                <a:gd name="connsiteX7" fmla="*/ 130994 w 135803"/>
                <a:gd name="connsiteY7" fmla="*/ 12867 h 43509"/>
                <a:gd name="connsiteX8" fmla="*/ 135467 w 135803"/>
                <a:gd name="connsiteY8" fmla="*/ 5206 h 43509"/>
                <a:gd name="connsiteX9" fmla="*/ 128438 w 135803"/>
                <a:gd name="connsiteY9" fmla="*/ 99 h 43509"/>
                <a:gd name="connsiteX10" fmla="*/ 128438 w 135803"/>
                <a:gd name="connsiteY10" fmla="*/ 99 h 435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35803" h="43509">
                  <a:moveTo>
                    <a:pt x="128438" y="99"/>
                  </a:moveTo>
                  <a:lnTo>
                    <a:pt x="67094" y="15420"/>
                  </a:lnTo>
                  <a:lnTo>
                    <a:pt x="5751" y="30742"/>
                  </a:lnTo>
                  <a:cubicBezTo>
                    <a:pt x="1917" y="31380"/>
                    <a:pt x="0" y="34572"/>
                    <a:pt x="0" y="37764"/>
                  </a:cubicBezTo>
                  <a:cubicBezTo>
                    <a:pt x="0" y="40956"/>
                    <a:pt x="3835" y="43510"/>
                    <a:pt x="7030" y="43510"/>
                  </a:cubicBezTo>
                  <a:cubicBezTo>
                    <a:pt x="7668" y="43510"/>
                    <a:pt x="8307" y="43510"/>
                    <a:pt x="8307" y="43510"/>
                  </a:cubicBezTo>
                  <a:lnTo>
                    <a:pt x="69650" y="28188"/>
                  </a:lnTo>
                  <a:lnTo>
                    <a:pt x="130994" y="12867"/>
                  </a:lnTo>
                  <a:cubicBezTo>
                    <a:pt x="134189" y="12228"/>
                    <a:pt x="136745" y="8398"/>
                    <a:pt x="135467" y="5206"/>
                  </a:cubicBezTo>
                  <a:cubicBezTo>
                    <a:pt x="135467" y="2014"/>
                    <a:pt x="132272" y="-540"/>
                    <a:pt x="128438" y="99"/>
                  </a:cubicBezTo>
                  <a:cubicBezTo>
                    <a:pt x="128438" y="99"/>
                    <a:pt x="128438" y="99"/>
                    <a:pt x="128438" y="99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1" name="Graphic 4">
            <a:extLst>
              <a:ext uri="{FF2B5EF4-FFF2-40B4-BE49-F238E27FC236}">
                <a16:creationId xmlns:a16="http://schemas.microsoft.com/office/drawing/2014/main" id="{4D3145F5-49F8-2544-4BB8-63234D72D6C4}"/>
              </a:ext>
            </a:extLst>
          </p:cNvPr>
          <p:cNvGrpSpPr/>
          <p:nvPr/>
        </p:nvGrpSpPr>
        <p:grpSpPr>
          <a:xfrm>
            <a:off x="7191932" y="1846163"/>
            <a:ext cx="707826" cy="706137"/>
            <a:chOff x="2560447" y="1402723"/>
            <a:chExt cx="362309" cy="361971"/>
          </a:xfrm>
          <a:solidFill>
            <a:schemeClr val="bg1"/>
          </a:solidFill>
        </p:grpSpPr>
        <p:sp>
          <p:nvSpPr>
            <p:cNvPr id="12" name="Graphic 4">
              <a:extLst>
                <a:ext uri="{FF2B5EF4-FFF2-40B4-BE49-F238E27FC236}">
                  <a16:creationId xmlns:a16="http://schemas.microsoft.com/office/drawing/2014/main" id="{5F22B880-1C96-20D7-622F-2E4ADAD838EE}"/>
                </a:ext>
              </a:extLst>
            </p:cNvPr>
            <p:cNvSpPr/>
            <p:nvPr/>
          </p:nvSpPr>
          <p:spPr>
            <a:xfrm>
              <a:off x="2560447" y="1402723"/>
              <a:ext cx="362309" cy="361971"/>
            </a:xfrm>
            <a:custGeom>
              <a:avLst/>
              <a:gdLst>
                <a:gd name="connsiteX0" fmla="*/ 181474 w 362309"/>
                <a:gd name="connsiteY0" fmla="*/ 0 h 361971"/>
                <a:gd name="connsiteX1" fmla="*/ 0 w 362309"/>
                <a:gd name="connsiteY1" fmla="*/ 180667 h 361971"/>
                <a:gd name="connsiteX2" fmla="*/ 180835 w 362309"/>
                <a:gd name="connsiteY2" fmla="*/ 361972 h 361971"/>
                <a:gd name="connsiteX3" fmla="*/ 362309 w 362309"/>
                <a:gd name="connsiteY3" fmla="*/ 181305 h 361971"/>
                <a:gd name="connsiteX4" fmla="*/ 362309 w 362309"/>
                <a:gd name="connsiteY4" fmla="*/ 181305 h 361971"/>
                <a:gd name="connsiteX5" fmla="*/ 181474 w 362309"/>
                <a:gd name="connsiteY5" fmla="*/ 0 h 361971"/>
                <a:gd name="connsiteX6" fmla="*/ 181474 w 362309"/>
                <a:gd name="connsiteY6" fmla="*/ 348565 h 361971"/>
                <a:gd name="connsiteX7" fmla="*/ 12780 w 362309"/>
                <a:gd name="connsiteY7" fmla="*/ 180667 h 361971"/>
                <a:gd name="connsiteX8" fmla="*/ 180835 w 362309"/>
                <a:gd name="connsiteY8" fmla="*/ 12130 h 361971"/>
                <a:gd name="connsiteX9" fmla="*/ 349529 w 362309"/>
                <a:gd name="connsiteY9" fmla="*/ 180028 h 361971"/>
                <a:gd name="connsiteX10" fmla="*/ 349529 w 362309"/>
                <a:gd name="connsiteY10" fmla="*/ 180028 h 361971"/>
                <a:gd name="connsiteX11" fmla="*/ 181474 w 362309"/>
                <a:gd name="connsiteY11" fmla="*/ 348565 h 361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62309" h="361971">
                  <a:moveTo>
                    <a:pt x="181474" y="0"/>
                  </a:moveTo>
                  <a:cubicBezTo>
                    <a:pt x="81152" y="0"/>
                    <a:pt x="0" y="81077"/>
                    <a:pt x="0" y="180667"/>
                  </a:cubicBezTo>
                  <a:cubicBezTo>
                    <a:pt x="0" y="280895"/>
                    <a:pt x="81152" y="361972"/>
                    <a:pt x="180835" y="361972"/>
                  </a:cubicBezTo>
                  <a:cubicBezTo>
                    <a:pt x="281157" y="361972"/>
                    <a:pt x="362309" y="280895"/>
                    <a:pt x="362309" y="181305"/>
                  </a:cubicBezTo>
                  <a:cubicBezTo>
                    <a:pt x="362309" y="181305"/>
                    <a:pt x="362309" y="181305"/>
                    <a:pt x="362309" y="181305"/>
                  </a:cubicBezTo>
                  <a:cubicBezTo>
                    <a:pt x="362309" y="80438"/>
                    <a:pt x="281157" y="0"/>
                    <a:pt x="181474" y="0"/>
                  </a:cubicBezTo>
                  <a:close/>
                  <a:moveTo>
                    <a:pt x="181474" y="348565"/>
                  </a:moveTo>
                  <a:cubicBezTo>
                    <a:pt x="88181" y="348565"/>
                    <a:pt x="12780" y="273234"/>
                    <a:pt x="12780" y="180667"/>
                  </a:cubicBezTo>
                  <a:cubicBezTo>
                    <a:pt x="12780" y="88099"/>
                    <a:pt x="88181" y="12130"/>
                    <a:pt x="180835" y="12130"/>
                  </a:cubicBezTo>
                  <a:cubicBezTo>
                    <a:pt x="273489" y="12130"/>
                    <a:pt x="349529" y="87461"/>
                    <a:pt x="349529" y="180028"/>
                  </a:cubicBezTo>
                  <a:cubicBezTo>
                    <a:pt x="349529" y="180028"/>
                    <a:pt x="349529" y="180028"/>
                    <a:pt x="349529" y="180028"/>
                  </a:cubicBezTo>
                  <a:cubicBezTo>
                    <a:pt x="349529" y="273234"/>
                    <a:pt x="274128" y="348565"/>
                    <a:pt x="181474" y="348565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Graphic 4">
              <a:extLst>
                <a:ext uri="{FF2B5EF4-FFF2-40B4-BE49-F238E27FC236}">
                  <a16:creationId xmlns:a16="http://schemas.microsoft.com/office/drawing/2014/main" id="{1A2CEAAE-AD23-B4D9-BDDE-E0E713327999}"/>
                </a:ext>
              </a:extLst>
            </p:cNvPr>
            <p:cNvSpPr/>
            <p:nvPr/>
          </p:nvSpPr>
          <p:spPr>
            <a:xfrm>
              <a:off x="2699748" y="1460162"/>
              <a:ext cx="84986" cy="117481"/>
            </a:xfrm>
            <a:custGeom>
              <a:avLst/>
              <a:gdLst>
                <a:gd name="connsiteX0" fmla="*/ 42813 w 84986"/>
                <a:gd name="connsiteY0" fmla="*/ 117482 h 117481"/>
                <a:gd name="connsiteX1" fmla="*/ 47925 w 84986"/>
                <a:gd name="connsiteY1" fmla="*/ 114928 h 117481"/>
                <a:gd name="connsiteX2" fmla="*/ 84986 w 84986"/>
                <a:gd name="connsiteY2" fmla="*/ 40874 h 117481"/>
                <a:gd name="connsiteX3" fmla="*/ 40896 w 84986"/>
                <a:gd name="connsiteY3" fmla="*/ 17 h 117481"/>
                <a:gd name="connsiteX4" fmla="*/ 0 w 84986"/>
                <a:gd name="connsiteY4" fmla="*/ 40874 h 117481"/>
                <a:gd name="connsiteX5" fmla="*/ 37062 w 84986"/>
                <a:gd name="connsiteY5" fmla="*/ 114928 h 117481"/>
                <a:gd name="connsiteX6" fmla="*/ 42813 w 84986"/>
                <a:gd name="connsiteY6" fmla="*/ 117482 h 117481"/>
                <a:gd name="connsiteX7" fmla="*/ 42813 w 84986"/>
                <a:gd name="connsiteY7" fmla="*/ 10869 h 117481"/>
                <a:gd name="connsiteX8" fmla="*/ 72206 w 84986"/>
                <a:gd name="connsiteY8" fmla="*/ 40236 h 117481"/>
                <a:gd name="connsiteX9" fmla="*/ 42813 w 84986"/>
                <a:gd name="connsiteY9" fmla="*/ 99607 h 117481"/>
                <a:gd name="connsiteX10" fmla="*/ 13419 w 84986"/>
                <a:gd name="connsiteY10" fmla="*/ 40236 h 117481"/>
                <a:gd name="connsiteX11" fmla="*/ 42813 w 84986"/>
                <a:gd name="connsiteY11" fmla="*/ 10869 h 117481"/>
                <a:gd name="connsiteX12" fmla="*/ 42813 w 84986"/>
                <a:gd name="connsiteY12" fmla="*/ 10869 h 117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4986" h="117481">
                  <a:moveTo>
                    <a:pt x="42813" y="117482"/>
                  </a:moveTo>
                  <a:cubicBezTo>
                    <a:pt x="44730" y="117482"/>
                    <a:pt x="46646" y="116205"/>
                    <a:pt x="47925" y="114928"/>
                  </a:cubicBezTo>
                  <a:cubicBezTo>
                    <a:pt x="51759" y="109821"/>
                    <a:pt x="84986" y="61941"/>
                    <a:pt x="84986" y="40874"/>
                  </a:cubicBezTo>
                  <a:cubicBezTo>
                    <a:pt x="84347" y="17253"/>
                    <a:pt x="64538" y="-622"/>
                    <a:pt x="40896" y="17"/>
                  </a:cubicBezTo>
                  <a:cubicBezTo>
                    <a:pt x="18531" y="655"/>
                    <a:pt x="1278" y="18530"/>
                    <a:pt x="0" y="40874"/>
                  </a:cubicBezTo>
                  <a:cubicBezTo>
                    <a:pt x="0" y="61941"/>
                    <a:pt x="33228" y="109821"/>
                    <a:pt x="37062" y="114928"/>
                  </a:cubicBezTo>
                  <a:cubicBezTo>
                    <a:pt x="38340" y="116843"/>
                    <a:pt x="40257" y="117482"/>
                    <a:pt x="42813" y="117482"/>
                  </a:cubicBezTo>
                  <a:close/>
                  <a:moveTo>
                    <a:pt x="42813" y="10869"/>
                  </a:moveTo>
                  <a:cubicBezTo>
                    <a:pt x="59426" y="10869"/>
                    <a:pt x="72206" y="24276"/>
                    <a:pt x="72206" y="40236"/>
                  </a:cubicBezTo>
                  <a:cubicBezTo>
                    <a:pt x="72206" y="51727"/>
                    <a:pt x="55593" y="79816"/>
                    <a:pt x="42813" y="99607"/>
                  </a:cubicBezTo>
                  <a:cubicBezTo>
                    <a:pt x="30033" y="79816"/>
                    <a:pt x="13419" y="51727"/>
                    <a:pt x="13419" y="40236"/>
                  </a:cubicBezTo>
                  <a:cubicBezTo>
                    <a:pt x="12780" y="24276"/>
                    <a:pt x="26199" y="10869"/>
                    <a:pt x="42813" y="10869"/>
                  </a:cubicBezTo>
                  <a:lnTo>
                    <a:pt x="42813" y="10869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Graphic 4">
              <a:extLst>
                <a:ext uri="{FF2B5EF4-FFF2-40B4-BE49-F238E27FC236}">
                  <a16:creationId xmlns:a16="http://schemas.microsoft.com/office/drawing/2014/main" id="{84BF087B-BE31-88CE-0F97-67FC7AA0AFD6}"/>
                </a:ext>
              </a:extLst>
            </p:cNvPr>
            <p:cNvSpPr/>
            <p:nvPr/>
          </p:nvSpPr>
          <p:spPr>
            <a:xfrm>
              <a:off x="2621824" y="1557118"/>
              <a:ext cx="200733" cy="129692"/>
            </a:xfrm>
            <a:custGeom>
              <a:avLst/>
              <a:gdLst>
                <a:gd name="connsiteX0" fmla="*/ 145657 w 200733"/>
                <a:gd name="connsiteY0" fmla="*/ 43509 h 129692"/>
                <a:gd name="connsiteX1" fmla="*/ 196138 w 200733"/>
                <a:gd name="connsiteY1" fmla="*/ 38402 h 129692"/>
                <a:gd name="connsiteX2" fmla="*/ 200611 w 200733"/>
                <a:gd name="connsiteY2" fmla="*/ 24995 h 129692"/>
                <a:gd name="connsiteX3" fmla="*/ 155242 w 200733"/>
                <a:gd name="connsiteY3" fmla="*/ 98 h 129692"/>
                <a:gd name="connsiteX4" fmla="*/ 148213 w 200733"/>
                <a:gd name="connsiteY4" fmla="*/ 5843 h 129692"/>
                <a:gd name="connsiteX5" fmla="*/ 153964 w 200733"/>
                <a:gd name="connsiteY5" fmla="*/ 12866 h 129692"/>
                <a:gd name="connsiteX6" fmla="*/ 153964 w 200733"/>
                <a:gd name="connsiteY6" fmla="*/ 12866 h 129692"/>
                <a:gd name="connsiteX7" fmla="*/ 188470 w 200733"/>
                <a:gd name="connsiteY7" fmla="*/ 25634 h 129692"/>
                <a:gd name="connsiteX8" fmla="*/ 187831 w 200733"/>
                <a:gd name="connsiteY8" fmla="*/ 29464 h 129692"/>
                <a:gd name="connsiteX9" fmla="*/ 146935 w 200733"/>
                <a:gd name="connsiteY9" fmla="*/ 30741 h 129692"/>
                <a:gd name="connsiteX10" fmla="*/ 129682 w 200733"/>
                <a:gd name="connsiteY10" fmla="*/ 29464 h 129692"/>
                <a:gd name="connsiteX11" fmla="*/ 26804 w 200733"/>
                <a:gd name="connsiteY11" fmla="*/ 40317 h 129692"/>
                <a:gd name="connsiteX12" fmla="*/ 14025 w 200733"/>
                <a:gd name="connsiteY12" fmla="*/ 126501 h 129692"/>
                <a:gd name="connsiteX13" fmla="*/ 19136 w 200733"/>
                <a:gd name="connsiteY13" fmla="*/ 129693 h 129692"/>
                <a:gd name="connsiteX14" fmla="*/ 22331 w 200733"/>
                <a:gd name="connsiteY14" fmla="*/ 129054 h 129692"/>
                <a:gd name="connsiteX15" fmla="*/ 24248 w 200733"/>
                <a:gd name="connsiteY15" fmla="*/ 120117 h 129692"/>
                <a:gd name="connsiteX16" fmla="*/ 24248 w 200733"/>
                <a:gd name="connsiteY16" fmla="*/ 120117 h 129692"/>
                <a:gd name="connsiteX17" fmla="*/ 33194 w 200733"/>
                <a:gd name="connsiteY17" fmla="*/ 51170 h 129692"/>
                <a:gd name="connsiteX18" fmla="*/ 127765 w 200733"/>
                <a:gd name="connsiteY18" fmla="*/ 42232 h 129692"/>
                <a:gd name="connsiteX19" fmla="*/ 145657 w 200733"/>
                <a:gd name="connsiteY19" fmla="*/ 43509 h 1296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00733" h="129692">
                  <a:moveTo>
                    <a:pt x="145657" y="43509"/>
                  </a:moveTo>
                  <a:cubicBezTo>
                    <a:pt x="178246" y="46062"/>
                    <a:pt x="189748" y="44786"/>
                    <a:pt x="196138" y="38402"/>
                  </a:cubicBezTo>
                  <a:cubicBezTo>
                    <a:pt x="199333" y="34571"/>
                    <a:pt x="201250" y="30102"/>
                    <a:pt x="200611" y="24995"/>
                  </a:cubicBezTo>
                  <a:cubicBezTo>
                    <a:pt x="199972" y="7120"/>
                    <a:pt x="165466" y="2013"/>
                    <a:pt x="155242" y="98"/>
                  </a:cubicBezTo>
                  <a:cubicBezTo>
                    <a:pt x="152047" y="-541"/>
                    <a:pt x="148852" y="2013"/>
                    <a:pt x="148213" y="5843"/>
                  </a:cubicBezTo>
                  <a:cubicBezTo>
                    <a:pt x="147574" y="9035"/>
                    <a:pt x="150130" y="12227"/>
                    <a:pt x="153964" y="12866"/>
                  </a:cubicBezTo>
                  <a:cubicBezTo>
                    <a:pt x="153964" y="12866"/>
                    <a:pt x="153964" y="12866"/>
                    <a:pt x="153964" y="12866"/>
                  </a:cubicBezTo>
                  <a:cubicBezTo>
                    <a:pt x="172495" y="15419"/>
                    <a:pt x="188470" y="21803"/>
                    <a:pt x="188470" y="25634"/>
                  </a:cubicBezTo>
                  <a:cubicBezTo>
                    <a:pt x="188470" y="27549"/>
                    <a:pt x="188470" y="28826"/>
                    <a:pt x="187831" y="29464"/>
                  </a:cubicBezTo>
                  <a:cubicBezTo>
                    <a:pt x="183358" y="33294"/>
                    <a:pt x="157798" y="32018"/>
                    <a:pt x="146935" y="30741"/>
                  </a:cubicBezTo>
                  <a:lnTo>
                    <a:pt x="129682" y="29464"/>
                  </a:lnTo>
                  <a:cubicBezTo>
                    <a:pt x="92621" y="26272"/>
                    <a:pt x="53642" y="23080"/>
                    <a:pt x="26804" y="40317"/>
                  </a:cubicBezTo>
                  <a:cubicBezTo>
                    <a:pt x="-3867" y="60107"/>
                    <a:pt x="-8340" y="91389"/>
                    <a:pt x="14025" y="126501"/>
                  </a:cubicBezTo>
                  <a:cubicBezTo>
                    <a:pt x="15303" y="128416"/>
                    <a:pt x="17220" y="129693"/>
                    <a:pt x="19136" y="129693"/>
                  </a:cubicBezTo>
                  <a:cubicBezTo>
                    <a:pt x="20414" y="129693"/>
                    <a:pt x="21693" y="129054"/>
                    <a:pt x="22331" y="129054"/>
                  </a:cubicBezTo>
                  <a:cubicBezTo>
                    <a:pt x="25526" y="127139"/>
                    <a:pt x="26165" y="123309"/>
                    <a:pt x="24248" y="120117"/>
                  </a:cubicBezTo>
                  <a:cubicBezTo>
                    <a:pt x="24248" y="120117"/>
                    <a:pt x="24248" y="120117"/>
                    <a:pt x="24248" y="120117"/>
                  </a:cubicBezTo>
                  <a:cubicBezTo>
                    <a:pt x="11469" y="99688"/>
                    <a:pt x="1884" y="70960"/>
                    <a:pt x="33194" y="51170"/>
                  </a:cubicBezTo>
                  <a:cubicBezTo>
                    <a:pt x="56198" y="36486"/>
                    <a:pt x="92621" y="39040"/>
                    <a:pt x="127765" y="42232"/>
                  </a:cubicBezTo>
                  <a:cubicBezTo>
                    <a:pt x="134155" y="42870"/>
                    <a:pt x="139906" y="43509"/>
                    <a:pt x="145657" y="43509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Graphic 4">
              <a:extLst>
                <a:ext uri="{FF2B5EF4-FFF2-40B4-BE49-F238E27FC236}">
                  <a16:creationId xmlns:a16="http://schemas.microsoft.com/office/drawing/2014/main" id="{B3F5A12E-4542-DD16-2637-757B68283C3D}"/>
                </a:ext>
              </a:extLst>
            </p:cNvPr>
            <p:cNvSpPr/>
            <p:nvPr/>
          </p:nvSpPr>
          <p:spPr>
            <a:xfrm>
              <a:off x="2719341" y="1538702"/>
              <a:ext cx="142164" cy="170452"/>
            </a:xfrm>
            <a:custGeom>
              <a:avLst/>
              <a:gdLst>
                <a:gd name="connsiteX0" fmla="*/ 136322 w 142164"/>
                <a:gd name="connsiteY0" fmla="*/ 29366 h 170452"/>
                <a:gd name="connsiteX1" fmla="*/ 65393 w 142164"/>
                <a:gd name="connsiteY1" fmla="*/ 0 h 170452"/>
                <a:gd name="connsiteX2" fmla="*/ 58365 w 142164"/>
                <a:gd name="connsiteY2" fmla="*/ 5746 h 170452"/>
                <a:gd name="connsiteX3" fmla="*/ 64116 w 142164"/>
                <a:gd name="connsiteY3" fmla="*/ 12768 h 170452"/>
                <a:gd name="connsiteX4" fmla="*/ 125459 w 142164"/>
                <a:gd name="connsiteY4" fmla="*/ 37027 h 170452"/>
                <a:gd name="connsiteX5" fmla="*/ 128015 w 142164"/>
                <a:gd name="connsiteY5" fmla="*/ 56179 h 170452"/>
                <a:gd name="connsiteX6" fmla="*/ 89036 w 142164"/>
                <a:gd name="connsiteY6" fmla="*/ 82353 h 170452"/>
                <a:gd name="connsiteX7" fmla="*/ 45585 w 142164"/>
                <a:gd name="connsiteY7" fmla="*/ 86184 h 170452"/>
                <a:gd name="connsiteX8" fmla="*/ 27054 w 142164"/>
                <a:gd name="connsiteY8" fmla="*/ 86184 h 170452"/>
                <a:gd name="connsiteX9" fmla="*/ 2133 w 142164"/>
                <a:gd name="connsiteY9" fmla="*/ 106613 h 170452"/>
                <a:gd name="connsiteX10" fmla="*/ 25137 w 142164"/>
                <a:gd name="connsiteY10" fmla="*/ 168537 h 170452"/>
                <a:gd name="connsiteX11" fmla="*/ 34083 w 142164"/>
                <a:gd name="connsiteY11" fmla="*/ 168537 h 170452"/>
                <a:gd name="connsiteX12" fmla="*/ 34083 w 142164"/>
                <a:gd name="connsiteY12" fmla="*/ 159600 h 170452"/>
                <a:gd name="connsiteX13" fmla="*/ 34083 w 142164"/>
                <a:gd name="connsiteY13" fmla="*/ 159600 h 170452"/>
                <a:gd name="connsiteX14" fmla="*/ 14274 w 142164"/>
                <a:gd name="connsiteY14" fmla="*/ 111081 h 170452"/>
                <a:gd name="connsiteX15" fmla="*/ 28332 w 142164"/>
                <a:gd name="connsiteY15" fmla="*/ 99590 h 170452"/>
                <a:gd name="connsiteX16" fmla="*/ 44946 w 142164"/>
                <a:gd name="connsiteY16" fmla="*/ 99590 h 170452"/>
                <a:gd name="connsiteX17" fmla="*/ 90953 w 142164"/>
                <a:gd name="connsiteY17" fmla="*/ 95760 h 170452"/>
                <a:gd name="connsiteX18" fmla="*/ 139517 w 142164"/>
                <a:gd name="connsiteY18" fmla="*/ 60648 h 170452"/>
                <a:gd name="connsiteX19" fmla="*/ 136322 w 142164"/>
                <a:gd name="connsiteY19" fmla="*/ 29366 h 170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42164" h="170452">
                  <a:moveTo>
                    <a:pt x="136322" y="29366"/>
                  </a:moveTo>
                  <a:cubicBezTo>
                    <a:pt x="118430" y="4469"/>
                    <a:pt x="67950" y="0"/>
                    <a:pt x="65393" y="0"/>
                  </a:cubicBezTo>
                  <a:cubicBezTo>
                    <a:pt x="61560" y="0"/>
                    <a:pt x="59004" y="2554"/>
                    <a:pt x="58365" y="5746"/>
                  </a:cubicBezTo>
                  <a:cubicBezTo>
                    <a:pt x="58365" y="9576"/>
                    <a:pt x="60921" y="12130"/>
                    <a:pt x="64116" y="12768"/>
                  </a:cubicBezTo>
                  <a:cubicBezTo>
                    <a:pt x="76895" y="14045"/>
                    <a:pt x="113318" y="19790"/>
                    <a:pt x="125459" y="37027"/>
                  </a:cubicBezTo>
                  <a:cubicBezTo>
                    <a:pt x="129293" y="42773"/>
                    <a:pt x="130571" y="49795"/>
                    <a:pt x="128015" y="56179"/>
                  </a:cubicBezTo>
                  <a:cubicBezTo>
                    <a:pt x="124820" y="68309"/>
                    <a:pt x="109484" y="77885"/>
                    <a:pt x="89036" y="82353"/>
                  </a:cubicBezTo>
                  <a:cubicBezTo>
                    <a:pt x="74978" y="85545"/>
                    <a:pt x="60282" y="86184"/>
                    <a:pt x="45585" y="86184"/>
                  </a:cubicBezTo>
                  <a:cubicBezTo>
                    <a:pt x="39195" y="85545"/>
                    <a:pt x="33444" y="85545"/>
                    <a:pt x="27054" y="86184"/>
                  </a:cubicBezTo>
                  <a:cubicBezTo>
                    <a:pt x="15552" y="87461"/>
                    <a:pt x="5967" y="95121"/>
                    <a:pt x="2133" y="106613"/>
                  </a:cubicBezTo>
                  <a:cubicBezTo>
                    <a:pt x="-1062" y="114912"/>
                    <a:pt x="-4896" y="137894"/>
                    <a:pt x="25137" y="168537"/>
                  </a:cubicBezTo>
                  <a:cubicBezTo>
                    <a:pt x="27693" y="171091"/>
                    <a:pt x="31527" y="171091"/>
                    <a:pt x="34083" y="168537"/>
                  </a:cubicBezTo>
                  <a:cubicBezTo>
                    <a:pt x="36639" y="165984"/>
                    <a:pt x="36639" y="162153"/>
                    <a:pt x="34083" y="159600"/>
                  </a:cubicBezTo>
                  <a:lnTo>
                    <a:pt x="34083" y="159600"/>
                  </a:lnTo>
                  <a:cubicBezTo>
                    <a:pt x="16830" y="141724"/>
                    <a:pt x="9162" y="123849"/>
                    <a:pt x="14274" y="111081"/>
                  </a:cubicBezTo>
                  <a:cubicBezTo>
                    <a:pt x="16191" y="104697"/>
                    <a:pt x="21942" y="100229"/>
                    <a:pt x="28332" y="99590"/>
                  </a:cubicBezTo>
                  <a:cubicBezTo>
                    <a:pt x="34083" y="98952"/>
                    <a:pt x="39834" y="98952"/>
                    <a:pt x="44946" y="99590"/>
                  </a:cubicBezTo>
                  <a:cubicBezTo>
                    <a:pt x="60282" y="100229"/>
                    <a:pt x="75617" y="98952"/>
                    <a:pt x="90953" y="95760"/>
                  </a:cubicBezTo>
                  <a:cubicBezTo>
                    <a:pt x="116513" y="90653"/>
                    <a:pt x="135044" y="77246"/>
                    <a:pt x="139517" y="60648"/>
                  </a:cubicBezTo>
                  <a:cubicBezTo>
                    <a:pt x="143990" y="49795"/>
                    <a:pt x="142712" y="38304"/>
                    <a:pt x="136322" y="29366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6" name="Graphic 4">
            <a:extLst>
              <a:ext uri="{FF2B5EF4-FFF2-40B4-BE49-F238E27FC236}">
                <a16:creationId xmlns:a16="http://schemas.microsoft.com/office/drawing/2014/main" id="{2789F2CF-F0D6-56DD-BDFF-229D6EAF4C66}"/>
              </a:ext>
            </a:extLst>
          </p:cNvPr>
          <p:cNvGrpSpPr/>
          <p:nvPr/>
        </p:nvGrpSpPr>
        <p:grpSpPr>
          <a:xfrm>
            <a:off x="3837936" y="4130210"/>
            <a:ext cx="716227" cy="703778"/>
            <a:chOff x="3607758" y="2371173"/>
            <a:chExt cx="362313" cy="361971"/>
          </a:xfrm>
          <a:solidFill>
            <a:schemeClr val="bg1"/>
          </a:solidFill>
        </p:grpSpPr>
        <p:sp>
          <p:nvSpPr>
            <p:cNvPr id="17" name="Graphic 4">
              <a:extLst>
                <a:ext uri="{FF2B5EF4-FFF2-40B4-BE49-F238E27FC236}">
                  <a16:creationId xmlns:a16="http://schemas.microsoft.com/office/drawing/2014/main" id="{99F5C939-6AE6-BDD1-DBAA-12ADE7D9C131}"/>
                </a:ext>
              </a:extLst>
            </p:cNvPr>
            <p:cNvSpPr/>
            <p:nvPr/>
          </p:nvSpPr>
          <p:spPr>
            <a:xfrm>
              <a:off x="3607758" y="2371173"/>
              <a:ext cx="362313" cy="361971"/>
            </a:xfrm>
            <a:custGeom>
              <a:avLst/>
              <a:gdLst>
                <a:gd name="connsiteX0" fmla="*/ 181474 w 362313"/>
                <a:gd name="connsiteY0" fmla="*/ 0 h 361971"/>
                <a:gd name="connsiteX1" fmla="*/ 0 w 362313"/>
                <a:gd name="connsiteY1" fmla="*/ 180667 h 361971"/>
                <a:gd name="connsiteX2" fmla="*/ 180836 w 362313"/>
                <a:gd name="connsiteY2" fmla="*/ 361972 h 361971"/>
                <a:gd name="connsiteX3" fmla="*/ 362310 w 362313"/>
                <a:gd name="connsiteY3" fmla="*/ 181305 h 361971"/>
                <a:gd name="connsiteX4" fmla="*/ 362310 w 362313"/>
                <a:gd name="connsiteY4" fmla="*/ 181305 h 361971"/>
                <a:gd name="connsiteX5" fmla="*/ 181474 w 362313"/>
                <a:gd name="connsiteY5" fmla="*/ 0 h 361971"/>
                <a:gd name="connsiteX6" fmla="*/ 181474 w 362313"/>
                <a:gd name="connsiteY6" fmla="*/ 0 h 361971"/>
                <a:gd name="connsiteX7" fmla="*/ 181474 w 362313"/>
                <a:gd name="connsiteY7" fmla="*/ 349204 h 361971"/>
                <a:gd name="connsiteX8" fmla="*/ 12780 w 362313"/>
                <a:gd name="connsiteY8" fmla="*/ 181305 h 361971"/>
                <a:gd name="connsiteX9" fmla="*/ 180836 w 362313"/>
                <a:gd name="connsiteY9" fmla="*/ 12768 h 361971"/>
                <a:gd name="connsiteX10" fmla="*/ 349530 w 362313"/>
                <a:gd name="connsiteY10" fmla="*/ 180667 h 361971"/>
                <a:gd name="connsiteX11" fmla="*/ 349530 w 362313"/>
                <a:gd name="connsiteY11" fmla="*/ 180667 h 361971"/>
                <a:gd name="connsiteX12" fmla="*/ 181474 w 362313"/>
                <a:gd name="connsiteY12" fmla="*/ 349204 h 361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62313" h="361971">
                  <a:moveTo>
                    <a:pt x="181474" y="0"/>
                  </a:moveTo>
                  <a:cubicBezTo>
                    <a:pt x="81152" y="0"/>
                    <a:pt x="0" y="81077"/>
                    <a:pt x="0" y="180667"/>
                  </a:cubicBezTo>
                  <a:cubicBezTo>
                    <a:pt x="0" y="280257"/>
                    <a:pt x="81152" y="361972"/>
                    <a:pt x="180836" y="361972"/>
                  </a:cubicBezTo>
                  <a:cubicBezTo>
                    <a:pt x="281157" y="361972"/>
                    <a:pt x="362310" y="280895"/>
                    <a:pt x="362310" y="181305"/>
                  </a:cubicBezTo>
                  <a:cubicBezTo>
                    <a:pt x="362310" y="181305"/>
                    <a:pt x="362310" y="181305"/>
                    <a:pt x="362310" y="181305"/>
                  </a:cubicBezTo>
                  <a:cubicBezTo>
                    <a:pt x="362949" y="81077"/>
                    <a:pt x="281796" y="0"/>
                    <a:pt x="181474" y="0"/>
                  </a:cubicBezTo>
                  <a:cubicBezTo>
                    <a:pt x="181474" y="0"/>
                    <a:pt x="181474" y="0"/>
                    <a:pt x="181474" y="0"/>
                  </a:cubicBezTo>
                  <a:close/>
                  <a:moveTo>
                    <a:pt x="181474" y="349204"/>
                  </a:moveTo>
                  <a:cubicBezTo>
                    <a:pt x="88181" y="349204"/>
                    <a:pt x="12780" y="273873"/>
                    <a:pt x="12780" y="181305"/>
                  </a:cubicBezTo>
                  <a:cubicBezTo>
                    <a:pt x="12780" y="88738"/>
                    <a:pt x="88181" y="12768"/>
                    <a:pt x="180836" y="12768"/>
                  </a:cubicBezTo>
                  <a:cubicBezTo>
                    <a:pt x="274128" y="12768"/>
                    <a:pt x="349530" y="88099"/>
                    <a:pt x="349530" y="180667"/>
                  </a:cubicBezTo>
                  <a:cubicBezTo>
                    <a:pt x="349530" y="180667"/>
                    <a:pt x="349530" y="180667"/>
                    <a:pt x="349530" y="180667"/>
                  </a:cubicBezTo>
                  <a:cubicBezTo>
                    <a:pt x="349530" y="273873"/>
                    <a:pt x="274128" y="349204"/>
                    <a:pt x="181474" y="349204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Graphic 4">
              <a:extLst>
                <a:ext uri="{FF2B5EF4-FFF2-40B4-BE49-F238E27FC236}">
                  <a16:creationId xmlns:a16="http://schemas.microsoft.com/office/drawing/2014/main" id="{4CE7C9BB-4422-A62A-D908-804BBB87E367}"/>
                </a:ext>
              </a:extLst>
            </p:cNvPr>
            <p:cNvSpPr/>
            <p:nvPr/>
          </p:nvSpPr>
          <p:spPr>
            <a:xfrm>
              <a:off x="3729806" y="2494384"/>
              <a:ext cx="116296" cy="116188"/>
            </a:xfrm>
            <a:custGeom>
              <a:avLst/>
              <a:gdLst>
                <a:gd name="connsiteX0" fmla="*/ 6390 w 116296"/>
                <a:gd name="connsiteY0" fmla="*/ 116188 h 116188"/>
                <a:gd name="connsiteX1" fmla="*/ 109907 w 116296"/>
                <a:gd name="connsiteY1" fmla="*/ 116188 h 116188"/>
                <a:gd name="connsiteX2" fmla="*/ 116297 w 116296"/>
                <a:gd name="connsiteY2" fmla="*/ 109804 h 116188"/>
                <a:gd name="connsiteX3" fmla="*/ 116297 w 116296"/>
                <a:gd name="connsiteY3" fmla="*/ 6384 h 116188"/>
                <a:gd name="connsiteX4" fmla="*/ 109907 w 116296"/>
                <a:gd name="connsiteY4" fmla="*/ 0 h 116188"/>
                <a:gd name="connsiteX5" fmla="*/ 6390 w 116296"/>
                <a:gd name="connsiteY5" fmla="*/ 0 h 116188"/>
                <a:gd name="connsiteX6" fmla="*/ 0 w 116296"/>
                <a:gd name="connsiteY6" fmla="*/ 6384 h 116188"/>
                <a:gd name="connsiteX7" fmla="*/ 0 w 116296"/>
                <a:gd name="connsiteY7" fmla="*/ 109804 h 116188"/>
                <a:gd name="connsiteX8" fmla="*/ 6390 w 116296"/>
                <a:gd name="connsiteY8" fmla="*/ 116188 h 116188"/>
                <a:gd name="connsiteX9" fmla="*/ 12780 w 116296"/>
                <a:gd name="connsiteY9" fmla="*/ 12768 h 116188"/>
                <a:gd name="connsiteX10" fmla="*/ 103517 w 116296"/>
                <a:gd name="connsiteY10" fmla="*/ 12768 h 116188"/>
                <a:gd name="connsiteX11" fmla="*/ 103517 w 116296"/>
                <a:gd name="connsiteY11" fmla="*/ 103420 h 116188"/>
                <a:gd name="connsiteX12" fmla="*/ 12780 w 116296"/>
                <a:gd name="connsiteY12" fmla="*/ 103420 h 116188"/>
                <a:gd name="connsiteX13" fmla="*/ 12780 w 116296"/>
                <a:gd name="connsiteY13" fmla="*/ 12768 h 1161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16296" h="116188">
                  <a:moveTo>
                    <a:pt x="6390" y="116188"/>
                  </a:moveTo>
                  <a:lnTo>
                    <a:pt x="109907" y="116188"/>
                  </a:lnTo>
                  <a:cubicBezTo>
                    <a:pt x="113741" y="116188"/>
                    <a:pt x="116297" y="113635"/>
                    <a:pt x="116297" y="109804"/>
                  </a:cubicBezTo>
                  <a:lnTo>
                    <a:pt x="116297" y="6384"/>
                  </a:lnTo>
                  <a:cubicBezTo>
                    <a:pt x="116297" y="2554"/>
                    <a:pt x="113741" y="0"/>
                    <a:pt x="109907" y="0"/>
                  </a:cubicBezTo>
                  <a:lnTo>
                    <a:pt x="6390" y="0"/>
                  </a:lnTo>
                  <a:cubicBezTo>
                    <a:pt x="2556" y="0"/>
                    <a:pt x="0" y="2554"/>
                    <a:pt x="0" y="6384"/>
                  </a:cubicBezTo>
                  <a:lnTo>
                    <a:pt x="0" y="109804"/>
                  </a:lnTo>
                  <a:cubicBezTo>
                    <a:pt x="0" y="113635"/>
                    <a:pt x="2556" y="116188"/>
                    <a:pt x="6390" y="116188"/>
                  </a:cubicBezTo>
                  <a:close/>
                  <a:moveTo>
                    <a:pt x="12780" y="12768"/>
                  </a:moveTo>
                  <a:lnTo>
                    <a:pt x="103517" y="12768"/>
                  </a:lnTo>
                  <a:lnTo>
                    <a:pt x="103517" y="103420"/>
                  </a:lnTo>
                  <a:lnTo>
                    <a:pt x="12780" y="103420"/>
                  </a:lnTo>
                  <a:lnTo>
                    <a:pt x="12780" y="12768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Graphic 4">
              <a:extLst>
                <a:ext uri="{FF2B5EF4-FFF2-40B4-BE49-F238E27FC236}">
                  <a16:creationId xmlns:a16="http://schemas.microsoft.com/office/drawing/2014/main" id="{E737FEDC-6DD4-0CDA-00DC-16A23DBD3694}"/>
                </a:ext>
              </a:extLst>
            </p:cNvPr>
            <p:cNvSpPr/>
            <p:nvPr/>
          </p:nvSpPr>
          <p:spPr>
            <a:xfrm>
              <a:off x="3678047" y="2440759"/>
              <a:ext cx="223008" cy="223439"/>
            </a:xfrm>
            <a:custGeom>
              <a:avLst/>
              <a:gdLst>
                <a:gd name="connsiteX0" fmla="*/ 192337 w 223008"/>
                <a:gd name="connsiteY0" fmla="*/ 88099 h 223439"/>
                <a:gd name="connsiteX1" fmla="*/ 215980 w 223008"/>
                <a:gd name="connsiteY1" fmla="*/ 88099 h 223439"/>
                <a:gd name="connsiteX2" fmla="*/ 222370 w 223008"/>
                <a:gd name="connsiteY2" fmla="*/ 81715 h 223439"/>
                <a:gd name="connsiteX3" fmla="*/ 215980 w 223008"/>
                <a:gd name="connsiteY3" fmla="*/ 75331 h 223439"/>
                <a:gd name="connsiteX4" fmla="*/ 191698 w 223008"/>
                <a:gd name="connsiteY4" fmla="*/ 75331 h 223439"/>
                <a:gd name="connsiteX5" fmla="*/ 191698 w 223008"/>
                <a:gd name="connsiteY5" fmla="*/ 36389 h 223439"/>
                <a:gd name="connsiteX6" fmla="*/ 185308 w 223008"/>
                <a:gd name="connsiteY6" fmla="*/ 30005 h 223439"/>
                <a:gd name="connsiteX7" fmla="*/ 146969 w 223008"/>
                <a:gd name="connsiteY7" fmla="*/ 30005 h 223439"/>
                <a:gd name="connsiteX8" fmla="*/ 146969 w 223008"/>
                <a:gd name="connsiteY8" fmla="*/ 6384 h 223439"/>
                <a:gd name="connsiteX9" fmla="*/ 140579 w 223008"/>
                <a:gd name="connsiteY9" fmla="*/ 0 h 223439"/>
                <a:gd name="connsiteX10" fmla="*/ 134189 w 223008"/>
                <a:gd name="connsiteY10" fmla="*/ 6384 h 223439"/>
                <a:gd name="connsiteX11" fmla="*/ 134189 w 223008"/>
                <a:gd name="connsiteY11" fmla="*/ 30005 h 223439"/>
                <a:gd name="connsiteX12" fmla="*/ 117575 w 223008"/>
                <a:gd name="connsiteY12" fmla="*/ 30005 h 223439"/>
                <a:gd name="connsiteX13" fmla="*/ 117575 w 223008"/>
                <a:gd name="connsiteY13" fmla="*/ 6384 h 223439"/>
                <a:gd name="connsiteX14" fmla="*/ 111185 w 223008"/>
                <a:gd name="connsiteY14" fmla="*/ 0 h 223439"/>
                <a:gd name="connsiteX15" fmla="*/ 104795 w 223008"/>
                <a:gd name="connsiteY15" fmla="*/ 6384 h 223439"/>
                <a:gd name="connsiteX16" fmla="*/ 104795 w 223008"/>
                <a:gd name="connsiteY16" fmla="*/ 30005 h 223439"/>
                <a:gd name="connsiteX17" fmla="*/ 87542 w 223008"/>
                <a:gd name="connsiteY17" fmla="*/ 30005 h 223439"/>
                <a:gd name="connsiteX18" fmla="*/ 87542 w 223008"/>
                <a:gd name="connsiteY18" fmla="*/ 6384 h 223439"/>
                <a:gd name="connsiteX19" fmla="*/ 81152 w 223008"/>
                <a:gd name="connsiteY19" fmla="*/ 0 h 223439"/>
                <a:gd name="connsiteX20" fmla="*/ 74762 w 223008"/>
                <a:gd name="connsiteY20" fmla="*/ 6384 h 223439"/>
                <a:gd name="connsiteX21" fmla="*/ 74762 w 223008"/>
                <a:gd name="connsiteY21" fmla="*/ 30005 h 223439"/>
                <a:gd name="connsiteX22" fmla="*/ 36423 w 223008"/>
                <a:gd name="connsiteY22" fmla="*/ 30005 h 223439"/>
                <a:gd name="connsiteX23" fmla="*/ 30033 w 223008"/>
                <a:gd name="connsiteY23" fmla="*/ 36389 h 223439"/>
                <a:gd name="connsiteX24" fmla="*/ 30033 w 223008"/>
                <a:gd name="connsiteY24" fmla="*/ 75331 h 223439"/>
                <a:gd name="connsiteX25" fmla="*/ 6390 w 223008"/>
                <a:gd name="connsiteY25" fmla="*/ 75331 h 223439"/>
                <a:gd name="connsiteX26" fmla="*/ 0 w 223008"/>
                <a:gd name="connsiteY26" fmla="*/ 81715 h 223439"/>
                <a:gd name="connsiteX27" fmla="*/ 6390 w 223008"/>
                <a:gd name="connsiteY27" fmla="*/ 88099 h 223439"/>
                <a:gd name="connsiteX28" fmla="*/ 30033 w 223008"/>
                <a:gd name="connsiteY28" fmla="*/ 88099 h 223439"/>
                <a:gd name="connsiteX29" fmla="*/ 30033 w 223008"/>
                <a:gd name="connsiteY29" fmla="*/ 105336 h 223439"/>
                <a:gd name="connsiteX30" fmla="*/ 6390 w 223008"/>
                <a:gd name="connsiteY30" fmla="*/ 105336 h 223439"/>
                <a:gd name="connsiteX31" fmla="*/ 0 w 223008"/>
                <a:gd name="connsiteY31" fmla="*/ 111720 h 223439"/>
                <a:gd name="connsiteX32" fmla="*/ 6390 w 223008"/>
                <a:gd name="connsiteY32" fmla="*/ 118104 h 223439"/>
                <a:gd name="connsiteX33" fmla="*/ 30033 w 223008"/>
                <a:gd name="connsiteY33" fmla="*/ 118104 h 223439"/>
                <a:gd name="connsiteX34" fmla="*/ 30033 w 223008"/>
                <a:gd name="connsiteY34" fmla="*/ 135340 h 223439"/>
                <a:gd name="connsiteX35" fmla="*/ 6390 w 223008"/>
                <a:gd name="connsiteY35" fmla="*/ 135340 h 223439"/>
                <a:gd name="connsiteX36" fmla="*/ 0 w 223008"/>
                <a:gd name="connsiteY36" fmla="*/ 141724 h 223439"/>
                <a:gd name="connsiteX37" fmla="*/ 6390 w 223008"/>
                <a:gd name="connsiteY37" fmla="*/ 148108 h 223439"/>
                <a:gd name="connsiteX38" fmla="*/ 30033 w 223008"/>
                <a:gd name="connsiteY38" fmla="*/ 148108 h 223439"/>
                <a:gd name="connsiteX39" fmla="*/ 30033 w 223008"/>
                <a:gd name="connsiteY39" fmla="*/ 187051 h 223439"/>
                <a:gd name="connsiteX40" fmla="*/ 36423 w 223008"/>
                <a:gd name="connsiteY40" fmla="*/ 193435 h 223439"/>
                <a:gd name="connsiteX41" fmla="*/ 74762 w 223008"/>
                <a:gd name="connsiteY41" fmla="*/ 193435 h 223439"/>
                <a:gd name="connsiteX42" fmla="*/ 74762 w 223008"/>
                <a:gd name="connsiteY42" fmla="*/ 217055 h 223439"/>
                <a:gd name="connsiteX43" fmla="*/ 81152 w 223008"/>
                <a:gd name="connsiteY43" fmla="*/ 223439 h 223439"/>
                <a:gd name="connsiteX44" fmla="*/ 87542 w 223008"/>
                <a:gd name="connsiteY44" fmla="*/ 217055 h 223439"/>
                <a:gd name="connsiteX45" fmla="*/ 87542 w 223008"/>
                <a:gd name="connsiteY45" fmla="*/ 193435 h 223439"/>
                <a:gd name="connsiteX46" fmla="*/ 104795 w 223008"/>
                <a:gd name="connsiteY46" fmla="*/ 193435 h 223439"/>
                <a:gd name="connsiteX47" fmla="*/ 104795 w 223008"/>
                <a:gd name="connsiteY47" fmla="*/ 217055 h 223439"/>
                <a:gd name="connsiteX48" fmla="*/ 111185 w 223008"/>
                <a:gd name="connsiteY48" fmla="*/ 223439 h 223439"/>
                <a:gd name="connsiteX49" fmla="*/ 117575 w 223008"/>
                <a:gd name="connsiteY49" fmla="*/ 217055 h 223439"/>
                <a:gd name="connsiteX50" fmla="*/ 117575 w 223008"/>
                <a:gd name="connsiteY50" fmla="*/ 193435 h 223439"/>
                <a:gd name="connsiteX51" fmla="*/ 134828 w 223008"/>
                <a:gd name="connsiteY51" fmla="*/ 193435 h 223439"/>
                <a:gd name="connsiteX52" fmla="*/ 134828 w 223008"/>
                <a:gd name="connsiteY52" fmla="*/ 217055 h 223439"/>
                <a:gd name="connsiteX53" fmla="*/ 141218 w 223008"/>
                <a:gd name="connsiteY53" fmla="*/ 223439 h 223439"/>
                <a:gd name="connsiteX54" fmla="*/ 147608 w 223008"/>
                <a:gd name="connsiteY54" fmla="*/ 217055 h 223439"/>
                <a:gd name="connsiteX55" fmla="*/ 147608 w 223008"/>
                <a:gd name="connsiteY55" fmla="*/ 193435 h 223439"/>
                <a:gd name="connsiteX56" fmla="*/ 185947 w 223008"/>
                <a:gd name="connsiteY56" fmla="*/ 193435 h 223439"/>
                <a:gd name="connsiteX57" fmla="*/ 192337 w 223008"/>
                <a:gd name="connsiteY57" fmla="*/ 187051 h 223439"/>
                <a:gd name="connsiteX58" fmla="*/ 192337 w 223008"/>
                <a:gd name="connsiteY58" fmla="*/ 148108 h 223439"/>
                <a:gd name="connsiteX59" fmla="*/ 216619 w 223008"/>
                <a:gd name="connsiteY59" fmla="*/ 148108 h 223439"/>
                <a:gd name="connsiteX60" fmla="*/ 223009 w 223008"/>
                <a:gd name="connsiteY60" fmla="*/ 141724 h 223439"/>
                <a:gd name="connsiteX61" fmla="*/ 216619 w 223008"/>
                <a:gd name="connsiteY61" fmla="*/ 135340 h 223439"/>
                <a:gd name="connsiteX62" fmla="*/ 192337 w 223008"/>
                <a:gd name="connsiteY62" fmla="*/ 135340 h 223439"/>
                <a:gd name="connsiteX63" fmla="*/ 192337 w 223008"/>
                <a:gd name="connsiteY63" fmla="*/ 118104 h 223439"/>
                <a:gd name="connsiteX64" fmla="*/ 216619 w 223008"/>
                <a:gd name="connsiteY64" fmla="*/ 118104 h 223439"/>
                <a:gd name="connsiteX65" fmla="*/ 223009 w 223008"/>
                <a:gd name="connsiteY65" fmla="*/ 111720 h 223439"/>
                <a:gd name="connsiteX66" fmla="*/ 216619 w 223008"/>
                <a:gd name="connsiteY66" fmla="*/ 105336 h 223439"/>
                <a:gd name="connsiteX67" fmla="*/ 192337 w 223008"/>
                <a:gd name="connsiteY67" fmla="*/ 105336 h 223439"/>
                <a:gd name="connsiteX68" fmla="*/ 192337 w 223008"/>
                <a:gd name="connsiteY68" fmla="*/ 88099 h 223439"/>
                <a:gd name="connsiteX69" fmla="*/ 192337 w 223008"/>
                <a:gd name="connsiteY69" fmla="*/ 88099 h 223439"/>
                <a:gd name="connsiteX70" fmla="*/ 179557 w 223008"/>
                <a:gd name="connsiteY70" fmla="*/ 180028 h 223439"/>
                <a:gd name="connsiteX71" fmla="*/ 42174 w 223008"/>
                <a:gd name="connsiteY71" fmla="*/ 180028 h 223439"/>
                <a:gd name="connsiteX72" fmla="*/ 42174 w 223008"/>
                <a:gd name="connsiteY72" fmla="*/ 42773 h 223439"/>
                <a:gd name="connsiteX73" fmla="*/ 179557 w 223008"/>
                <a:gd name="connsiteY73" fmla="*/ 42773 h 223439"/>
                <a:gd name="connsiteX74" fmla="*/ 179557 w 223008"/>
                <a:gd name="connsiteY74" fmla="*/ 180028 h 223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</a:cxnLst>
              <a:rect l="l" t="t" r="r" b="b"/>
              <a:pathLst>
                <a:path w="223008" h="223439">
                  <a:moveTo>
                    <a:pt x="192337" y="88099"/>
                  </a:moveTo>
                  <a:lnTo>
                    <a:pt x="215980" y="88099"/>
                  </a:lnTo>
                  <a:cubicBezTo>
                    <a:pt x="219814" y="88099"/>
                    <a:pt x="222370" y="85545"/>
                    <a:pt x="222370" y="81715"/>
                  </a:cubicBezTo>
                  <a:cubicBezTo>
                    <a:pt x="222370" y="77884"/>
                    <a:pt x="219814" y="75331"/>
                    <a:pt x="215980" y="75331"/>
                  </a:cubicBezTo>
                  <a:lnTo>
                    <a:pt x="191698" y="75331"/>
                  </a:lnTo>
                  <a:lnTo>
                    <a:pt x="191698" y="36389"/>
                  </a:lnTo>
                  <a:cubicBezTo>
                    <a:pt x="191698" y="32558"/>
                    <a:pt x="189142" y="30005"/>
                    <a:pt x="185308" y="30005"/>
                  </a:cubicBezTo>
                  <a:lnTo>
                    <a:pt x="146969" y="30005"/>
                  </a:lnTo>
                  <a:lnTo>
                    <a:pt x="146969" y="6384"/>
                  </a:lnTo>
                  <a:cubicBezTo>
                    <a:pt x="146969" y="2554"/>
                    <a:pt x="144413" y="0"/>
                    <a:pt x="140579" y="0"/>
                  </a:cubicBezTo>
                  <a:cubicBezTo>
                    <a:pt x="136745" y="0"/>
                    <a:pt x="134189" y="2554"/>
                    <a:pt x="134189" y="6384"/>
                  </a:cubicBezTo>
                  <a:lnTo>
                    <a:pt x="134189" y="30005"/>
                  </a:lnTo>
                  <a:lnTo>
                    <a:pt x="117575" y="30005"/>
                  </a:lnTo>
                  <a:lnTo>
                    <a:pt x="117575" y="6384"/>
                  </a:lnTo>
                  <a:cubicBezTo>
                    <a:pt x="117575" y="2554"/>
                    <a:pt x="115019" y="0"/>
                    <a:pt x="111185" y="0"/>
                  </a:cubicBezTo>
                  <a:cubicBezTo>
                    <a:pt x="107351" y="0"/>
                    <a:pt x="104795" y="2554"/>
                    <a:pt x="104795" y="6384"/>
                  </a:cubicBezTo>
                  <a:lnTo>
                    <a:pt x="104795" y="30005"/>
                  </a:lnTo>
                  <a:lnTo>
                    <a:pt x="87542" y="30005"/>
                  </a:lnTo>
                  <a:lnTo>
                    <a:pt x="87542" y="6384"/>
                  </a:lnTo>
                  <a:cubicBezTo>
                    <a:pt x="87542" y="2554"/>
                    <a:pt x="84986" y="0"/>
                    <a:pt x="81152" y="0"/>
                  </a:cubicBezTo>
                  <a:cubicBezTo>
                    <a:pt x="77318" y="0"/>
                    <a:pt x="74762" y="2554"/>
                    <a:pt x="74762" y="6384"/>
                  </a:cubicBezTo>
                  <a:lnTo>
                    <a:pt x="74762" y="30005"/>
                  </a:lnTo>
                  <a:lnTo>
                    <a:pt x="36423" y="30005"/>
                  </a:lnTo>
                  <a:cubicBezTo>
                    <a:pt x="32589" y="30005"/>
                    <a:pt x="30033" y="32558"/>
                    <a:pt x="30033" y="36389"/>
                  </a:cubicBezTo>
                  <a:lnTo>
                    <a:pt x="30033" y="75331"/>
                  </a:lnTo>
                  <a:lnTo>
                    <a:pt x="6390" y="75331"/>
                  </a:lnTo>
                  <a:cubicBezTo>
                    <a:pt x="2556" y="75331"/>
                    <a:pt x="0" y="77884"/>
                    <a:pt x="0" y="81715"/>
                  </a:cubicBezTo>
                  <a:cubicBezTo>
                    <a:pt x="0" y="85545"/>
                    <a:pt x="2556" y="88099"/>
                    <a:pt x="6390" y="88099"/>
                  </a:cubicBezTo>
                  <a:lnTo>
                    <a:pt x="30033" y="88099"/>
                  </a:lnTo>
                  <a:lnTo>
                    <a:pt x="30033" y="105336"/>
                  </a:lnTo>
                  <a:lnTo>
                    <a:pt x="6390" y="105336"/>
                  </a:lnTo>
                  <a:cubicBezTo>
                    <a:pt x="2556" y="105336"/>
                    <a:pt x="0" y="107889"/>
                    <a:pt x="0" y="111720"/>
                  </a:cubicBezTo>
                  <a:cubicBezTo>
                    <a:pt x="0" y="115550"/>
                    <a:pt x="2556" y="118104"/>
                    <a:pt x="6390" y="118104"/>
                  </a:cubicBezTo>
                  <a:lnTo>
                    <a:pt x="30033" y="118104"/>
                  </a:lnTo>
                  <a:lnTo>
                    <a:pt x="30033" y="135340"/>
                  </a:lnTo>
                  <a:lnTo>
                    <a:pt x="6390" y="135340"/>
                  </a:lnTo>
                  <a:cubicBezTo>
                    <a:pt x="2556" y="135340"/>
                    <a:pt x="0" y="137894"/>
                    <a:pt x="0" y="141724"/>
                  </a:cubicBezTo>
                  <a:cubicBezTo>
                    <a:pt x="0" y="145555"/>
                    <a:pt x="2556" y="148108"/>
                    <a:pt x="6390" y="148108"/>
                  </a:cubicBezTo>
                  <a:lnTo>
                    <a:pt x="30033" y="148108"/>
                  </a:lnTo>
                  <a:lnTo>
                    <a:pt x="30033" y="187051"/>
                  </a:lnTo>
                  <a:cubicBezTo>
                    <a:pt x="30033" y="190881"/>
                    <a:pt x="32589" y="193435"/>
                    <a:pt x="36423" y="193435"/>
                  </a:cubicBezTo>
                  <a:lnTo>
                    <a:pt x="74762" y="193435"/>
                  </a:lnTo>
                  <a:lnTo>
                    <a:pt x="74762" y="217055"/>
                  </a:lnTo>
                  <a:cubicBezTo>
                    <a:pt x="74762" y="220886"/>
                    <a:pt x="77318" y="223439"/>
                    <a:pt x="81152" y="223439"/>
                  </a:cubicBezTo>
                  <a:cubicBezTo>
                    <a:pt x="84986" y="223439"/>
                    <a:pt x="87542" y="220886"/>
                    <a:pt x="87542" y="217055"/>
                  </a:cubicBezTo>
                  <a:lnTo>
                    <a:pt x="87542" y="193435"/>
                  </a:lnTo>
                  <a:lnTo>
                    <a:pt x="104795" y="193435"/>
                  </a:lnTo>
                  <a:lnTo>
                    <a:pt x="104795" y="217055"/>
                  </a:lnTo>
                  <a:cubicBezTo>
                    <a:pt x="104795" y="220886"/>
                    <a:pt x="107351" y="223439"/>
                    <a:pt x="111185" y="223439"/>
                  </a:cubicBezTo>
                  <a:cubicBezTo>
                    <a:pt x="115019" y="223439"/>
                    <a:pt x="117575" y="220886"/>
                    <a:pt x="117575" y="217055"/>
                  </a:cubicBezTo>
                  <a:lnTo>
                    <a:pt x="117575" y="193435"/>
                  </a:lnTo>
                  <a:lnTo>
                    <a:pt x="134828" y="193435"/>
                  </a:lnTo>
                  <a:lnTo>
                    <a:pt x="134828" y="217055"/>
                  </a:lnTo>
                  <a:cubicBezTo>
                    <a:pt x="134828" y="220886"/>
                    <a:pt x="137384" y="223439"/>
                    <a:pt x="141218" y="223439"/>
                  </a:cubicBezTo>
                  <a:cubicBezTo>
                    <a:pt x="145052" y="223439"/>
                    <a:pt x="147608" y="220886"/>
                    <a:pt x="147608" y="217055"/>
                  </a:cubicBezTo>
                  <a:lnTo>
                    <a:pt x="147608" y="193435"/>
                  </a:lnTo>
                  <a:lnTo>
                    <a:pt x="185947" y="193435"/>
                  </a:lnTo>
                  <a:cubicBezTo>
                    <a:pt x="189781" y="193435"/>
                    <a:pt x="192337" y="190881"/>
                    <a:pt x="192337" y="187051"/>
                  </a:cubicBezTo>
                  <a:lnTo>
                    <a:pt x="192337" y="148108"/>
                  </a:lnTo>
                  <a:lnTo>
                    <a:pt x="216619" y="148108"/>
                  </a:lnTo>
                  <a:cubicBezTo>
                    <a:pt x="220453" y="148108"/>
                    <a:pt x="223009" y="145555"/>
                    <a:pt x="223009" y="141724"/>
                  </a:cubicBezTo>
                  <a:cubicBezTo>
                    <a:pt x="223009" y="137894"/>
                    <a:pt x="220453" y="135340"/>
                    <a:pt x="216619" y="135340"/>
                  </a:cubicBezTo>
                  <a:lnTo>
                    <a:pt x="192337" y="135340"/>
                  </a:lnTo>
                  <a:lnTo>
                    <a:pt x="192337" y="118104"/>
                  </a:lnTo>
                  <a:lnTo>
                    <a:pt x="216619" y="118104"/>
                  </a:lnTo>
                  <a:cubicBezTo>
                    <a:pt x="220453" y="118104"/>
                    <a:pt x="223009" y="115550"/>
                    <a:pt x="223009" y="111720"/>
                  </a:cubicBezTo>
                  <a:cubicBezTo>
                    <a:pt x="223009" y="107889"/>
                    <a:pt x="220453" y="105336"/>
                    <a:pt x="216619" y="105336"/>
                  </a:cubicBezTo>
                  <a:lnTo>
                    <a:pt x="192337" y="105336"/>
                  </a:lnTo>
                  <a:lnTo>
                    <a:pt x="192337" y="88099"/>
                  </a:lnTo>
                  <a:lnTo>
                    <a:pt x="192337" y="88099"/>
                  </a:lnTo>
                  <a:close/>
                  <a:moveTo>
                    <a:pt x="179557" y="180028"/>
                  </a:moveTo>
                  <a:lnTo>
                    <a:pt x="42174" y="180028"/>
                  </a:lnTo>
                  <a:lnTo>
                    <a:pt x="42174" y="42773"/>
                  </a:lnTo>
                  <a:lnTo>
                    <a:pt x="179557" y="42773"/>
                  </a:lnTo>
                  <a:lnTo>
                    <a:pt x="179557" y="180028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Graphic 4">
              <a:extLst>
                <a:ext uri="{FF2B5EF4-FFF2-40B4-BE49-F238E27FC236}">
                  <a16:creationId xmlns:a16="http://schemas.microsoft.com/office/drawing/2014/main" id="{9BFDD016-E0C8-05BC-8E07-451704ADC5BE}"/>
                </a:ext>
              </a:extLst>
            </p:cNvPr>
            <p:cNvSpPr/>
            <p:nvPr/>
          </p:nvSpPr>
          <p:spPr>
            <a:xfrm>
              <a:off x="3760477" y="2517313"/>
              <a:ext cx="49202" cy="69000"/>
            </a:xfrm>
            <a:custGeom>
              <a:avLst/>
              <a:gdLst>
                <a:gd name="connsiteX0" fmla="*/ 42813 w 49202"/>
                <a:gd name="connsiteY0" fmla="*/ 56233 h 69000"/>
                <a:gd name="connsiteX1" fmla="*/ 21087 w 49202"/>
                <a:gd name="connsiteY1" fmla="*/ 56233 h 69000"/>
                <a:gd name="connsiteX2" fmla="*/ 25560 w 49202"/>
                <a:gd name="connsiteY2" fmla="*/ 40911 h 69000"/>
                <a:gd name="connsiteX3" fmla="*/ 30672 w 49202"/>
                <a:gd name="connsiteY3" fmla="*/ 40911 h 69000"/>
                <a:gd name="connsiteX4" fmla="*/ 37062 w 49202"/>
                <a:gd name="connsiteY4" fmla="*/ 34527 h 69000"/>
                <a:gd name="connsiteX5" fmla="*/ 30672 w 49202"/>
                <a:gd name="connsiteY5" fmla="*/ 28143 h 69000"/>
                <a:gd name="connsiteX6" fmla="*/ 20448 w 49202"/>
                <a:gd name="connsiteY6" fmla="*/ 28143 h 69000"/>
                <a:gd name="connsiteX7" fmla="*/ 18531 w 49202"/>
                <a:gd name="connsiteY7" fmla="*/ 25590 h 69000"/>
                <a:gd name="connsiteX8" fmla="*/ 17892 w 49202"/>
                <a:gd name="connsiteY8" fmla="*/ 17929 h 69000"/>
                <a:gd name="connsiteX9" fmla="*/ 26199 w 49202"/>
                <a:gd name="connsiteY9" fmla="*/ 12822 h 69000"/>
                <a:gd name="connsiteX10" fmla="*/ 35783 w 49202"/>
                <a:gd name="connsiteY10" fmla="*/ 21121 h 69000"/>
                <a:gd name="connsiteX11" fmla="*/ 35783 w 49202"/>
                <a:gd name="connsiteY11" fmla="*/ 22398 h 69000"/>
                <a:gd name="connsiteX12" fmla="*/ 42173 w 49202"/>
                <a:gd name="connsiteY12" fmla="*/ 28782 h 69000"/>
                <a:gd name="connsiteX13" fmla="*/ 48563 w 49202"/>
                <a:gd name="connsiteY13" fmla="*/ 22398 h 69000"/>
                <a:gd name="connsiteX14" fmla="*/ 26838 w 49202"/>
                <a:gd name="connsiteY14" fmla="*/ 54 h 69000"/>
                <a:gd name="connsiteX15" fmla="*/ 26199 w 49202"/>
                <a:gd name="connsiteY15" fmla="*/ 54 h 69000"/>
                <a:gd name="connsiteX16" fmla="*/ 5751 w 49202"/>
                <a:gd name="connsiteY16" fmla="*/ 12822 h 69000"/>
                <a:gd name="connsiteX17" fmla="*/ 5112 w 49202"/>
                <a:gd name="connsiteY17" fmla="*/ 28143 h 69000"/>
                <a:gd name="connsiteX18" fmla="*/ 0 w 49202"/>
                <a:gd name="connsiteY18" fmla="*/ 34527 h 69000"/>
                <a:gd name="connsiteX19" fmla="*/ 6390 w 49202"/>
                <a:gd name="connsiteY19" fmla="*/ 40911 h 69000"/>
                <a:gd name="connsiteX20" fmla="*/ 12780 w 49202"/>
                <a:gd name="connsiteY20" fmla="*/ 40911 h 69000"/>
                <a:gd name="connsiteX21" fmla="*/ 3834 w 49202"/>
                <a:gd name="connsiteY21" fmla="*/ 58786 h 69000"/>
                <a:gd name="connsiteX22" fmla="*/ 3195 w 49202"/>
                <a:gd name="connsiteY22" fmla="*/ 65170 h 69000"/>
                <a:gd name="connsiteX23" fmla="*/ 8946 w 49202"/>
                <a:gd name="connsiteY23" fmla="*/ 69001 h 69000"/>
                <a:gd name="connsiteX24" fmla="*/ 42813 w 49202"/>
                <a:gd name="connsiteY24" fmla="*/ 69001 h 69000"/>
                <a:gd name="connsiteX25" fmla="*/ 49203 w 49202"/>
                <a:gd name="connsiteY25" fmla="*/ 62617 h 69000"/>
                <a:gd name="connsiteX26" fmla="*/ 42813 w 49202"/>
                <a:gd name="connsiteY26" fmla="*/ 56233 h 69000"/>
                <a:gd name="connsiteX27" fmla="*/ 42813 w 49202"/>
                <a:gd name="connsiteY27" fmla="*/ 56233 h 69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49202" h="69000">
                  <a:moveTo>
                    <a:pt x="42813" y="56233"/>
                  </a:moveTo>
                  <a:lnTo>
                    <a:pt x="21087" y="56233"/>
                  </a:lnTo>
                  <a:cubicBezTo>
                    <a:pt x="24282" y="51764"/>
                    <a:pt x="25560" y="46657"/>
                    <a:pt x="25560" y="40911"/>
                  </a:cubicBezTo>
                  <a:lnTo>
                    <a:pt x="30672" y="40911"/>
                  </a:lnTo>
                  <a:cubicBezTo>
                    <a:pt x="34506" y="40911"/>
                    <a:pt x="37062" y="38358"/>
                    <a:pt x="37062" y="34527"/>
                  </a:cubicBezTo>
                  <a:cubicBezTo>
                    <a:pt x="37062" y="30697"/>
                    <a:pt x="34506" y="28143"/>
                    <a:pt x="30672" y="28143"/>
                  </a:cubicBezTo>
                  <a:lnTo>
                    <a:pt x="20448" y="28143"/>
                  </a:lnTo>
                  <a:cubicBezTo>
                    <a:pt x="19809" y="27505"/>
                    <a:pt x="19170" y="26866"/>
                    <a:pt x="18531" y="25590"/>
                  </a:cubicBezTo>
                  <a:cubicBezTo>
                    <a:pt x="16614" y="23674"/>
                    <a:pt x="16614" y="20482"/>
                    <a:pt x="17892" y="17929"/>
                  </a:cubicBezTo>
                  <a:cubicBezTo>
                    <a:pt x="19170" y="14737"/>
                    <a:pt x="23004" y="12822"/>
                    <a:pt x="26199" y="12822"/>
                  </a:cubicBezTo>
                  <a:cubicBezTo>
                    <a:pt x="31311" y="12183"/>
                    <a:pt x="35783" y="16014"/>
                    <a:pt x="35783" y="21121"/>
                  </a:cubicBezTo>
                  <a:cubicBezTo>
                    <a:pt x="35783" y="21759"/>
                    <a:pt x="35783" y="21759"/>
                    <a:pt x="35783" y="22398"/>
                  </a:cubicBezTo>
                  <a:cubicBezTo>
                    <a:pt x="35783" y="26228"/>
                    <a:pt x="38340" y="28782"/>
                    <a:pt x="42173" y="28782"/>
                  </a:cubicBezTo>
                  <a:cubicBezTo>
                    <a:pt x="46008" y="28782"/>
                    <a:pt x="48563" y="26228"/>
                    <a:pt x="48563" y="22398"/>
                  </a:cubicBezTo>
                  <a:cubicBezTo>
                    <a:pt x="48563" y="10268"/>
                    <a:pt x="38978" y="54"/>
                    <a:pt x="26838" y="54"/>
                  </a:cubicBezTo>
                  <a:cubicBezTo>
                    <a:pt x="26838" y="54"/>
                    <a:pt x="26199" y="54"/>
                    <a:pt x="26199" y="54"/>
                  </a:cubicBezTo>
                  <a:cubicBezTo>
                    <a:pt x="17253" y="-585"/>
                    <a:pt x="8946" y="4522"/>
                    <a:pt x="5751" y="12822"/>
                  </a:cubicBezTo>
                  <a:cubicBezTo>
                    <a:pt x="3834" y="17929"/>
                    <a:pt x="3195" y="23036"/>
                    <a:pt x="5112" y="28143"/>
                  </a:cubicBezTo>
                  <a:cubicBezTo>
                    <a:pt x="1917" y="28782"/>
                    <a:pt x="0" y="31335"/>
                    <a:pt x="0" y="34527"/>
                  </a:cubicBezTo>
                  <a:cubicBezTo>
                    <a:pt x="0" y="38358"/>
                    <a:pt x="2556" y="40911"/>
                    <a:pt x="6390" y="40911"/>
                  </a:cubicBezTo>
                  <a:lnTo>
                    <a:pt x="12780" y="40911"/>
                  </a:lnTo>
                  <a:cubicBezTo>
                    <a:pt x="12780" y="44103"/>
                    <a:pt x="10863" y="49849"/>
                    <a:pt x="3834" y="58786"/>
                  </a:cubicBezTo>
                  <a:cubicBezTo>
                    <a:pt x="2556" y="60701"/>
                    <a:pt x="1917" y="63255"/>
                    <a:pt x="3195" y="65170"/>
                  </a:cubicBezTo>
                  <a:cubicBezTo>
                    <a:pt x="4473" y="67085"/>
                    <a:pt x="6390" y="69001"/>
                    <a:pt x="8946" y="69001"/>
                  </a:cubicBezTo>
                  <a:lnTo>
                    <a:pt x="42813" y="69001"/>
                  </a:lnTo>
                  <a:cubicBezTo>
                    <a:pt x="46646" y="69001"/>
                    <a:pt x="49203" y="66447"/>
                    <a:pt x="49203" y="62617"/>
                  </a:cubicBezTo>
                  <a:cubicBezTo>
                    <a:pt x="49203" y="58786"/>
                    <a:pt x="46646" y="56871"/>
                    <a:pt x="42813" y="56233"/>
                  </a:cubicBezTo>
                  <a:lnTo>
                    <a:pt x="42813" y="56233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21" name="Graphic 4">
            <a:extLst>
              <a:ext uri="{FF2B5EF4-FFF2-40B4-BE49-F238E27FC236}">
                <a16:creationId xmlns:a16="http://schemas.microsoft.com/office/drawing/2014/main" id="{887E42FF-523B-4839-6DC8-F606FCA0FB40}"/>
              </a:ext>
            </a:extLst>
          </p:cNvPr>
          <p:cNvGrpSpPr/>
          <p:nvPr/>
        </p:nvGrpSpPr>
        <p:grpSpPr>
          <a:xfrm>
            <a:off x="7060159" y="4963465"/>
            <a:ext cx="719935" cy="712448"/>
            <a:chOff x="6754802" y="2855717"/>
            <a:chExt cx="361670" cy="361333"/>
          </a:xfrm>
          <a:solidFill>
            <a:schemeClr val="bg1"/>
          </a:solidFill>
        </p:grpSpPr>
        <p:sp>
          <p:nvSpPr>
            <p:cNvPr id="22" name="Graphic 4">
              <a:extLst>
                <a:ext uri="{FF2B5EF4-FFF2-40B4-BE49-F238E27FC236}">
                  <a16:creationId xmlns:a16="http://schemas.microsoft.com/office/drawing/2014/main" id="{63B35D17-66E9-58BD-122D-21497354896A}"/>
                </a:ext>
              </a:extLst>
            </p:cNvPr>
            <p:cNvSpPr/>
            <p:nvPr/>
          </p:nvSpPr>
          <p:spPr>
            <a:xfrm>
              <a:off x="6754802" y="2855717"/>
              <a:ext cx="361670" cy="361333"/>
            </a:xfrm>
            <a:custGeom>
              <a:avLst/>
              <a:gdLst>
                <a:gd name="connsiteX0" fmla="*/ 180836 w 361670"/>
                <a:gd name="connsiteY0" fmla="*/ 0 h 361333"/>
                <a:gd name="connsiteX1" fmla="*/ 0 w 361670"/>
                <a:gd name="connsiteY1" fmla="*/ 180667 h 361333"/>
                <a:gd name="connsiteX2" fmla="*/ 180836 w 361670"/>
                <a:gd name="connsiteY2" fmla="*/ 361333 h 361333"/>
                <a:gd name="connsiteX3" fmla="*/ 361670 w 361670"/>
                <a:gd name="connsiteY3" fmla="*/ 180667 h 361333"/>
                <a:gd name="connsiteX4" fmla="*/ 180836 w 361670"/>
                <a:gd name="connsiteY4" fmla="*/ 0 h 361333"/>
                <a:gd name="connsiteX5" fmla="*/ 180836 w 361670"/>
                <a:gd name="connsiteY5" fmla="*/ 349204 h 361333"/>
                <a:gd name="connsiteX6" fmla="*/ 12780 w 361670"/>
                <a:gd name="connsiteY6" fmla="*/ 181305 h 361333"/>
                <a:gd name="connsiteX7" fmla="*/ 180836 w 361670"/>
                <a:gd name="connsiteY7" fmla="*/ 13406 h 361333"/>
                <a:gd name="connsiteX8" fmla="*/ 348890 w 361670"/>
                <a:gd name="connsiteY8" fmla="*/ 181305 h 361333"/>
                <a:gd name="connsiteX9" fmla="*/ 180836 w 361670"/>
                <a:gd name="connsiteY9" fmla="*/ 349204 h 361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1670" h="361333">
                  <a:moveTo>
                    <a:pt x="180836" y="0"/>
                  </a:moveTo>
                  <a:cubicBezTo>
                    <a:pt x="80513" y="0"/>
                    <a:pt x="0" y="81076"/>
                    <a:pt x="0" y="180667"/>
                  </a:cubicBezTo>
                  <a:cubicBezTo>
                    <a:pt x="0" y="280895"/>
                    <a:pt x="81153" y="361333"/>
                    <a:pt x="180836" y="361333"/>
                  </a:cubicBezTo>
                  <a:cubicBezTo>
                    <a:pt x="280518" y="361333"/>
                    <a:pt x="361670" y="280257"/>
                    <a:pt x="361670" y="180667"/>
                  </a:cubicBezTo>
                  <a:cubicBezTo>
                    <a:pt x="361670" y="80438"/>
                    <a:pt x="280518" y="0"/>
                    <a:pt x="180836" y="0"/>
                  </a:cubicBezTo>
                  <a:close/>
                  <a:moveTo>
                    <a:pt x="180836" y="349204"/>
                  </a:moveTo>
                  <a:cubicBezTo>
                    <a:pt x="88181" y="349204"/>
                    <a:pt x="12780" y="273873"/>
                    <a:pt x="12780" y="181305"/>
                  </a:cubicBezTo>
                  <a:cubicBezTo>
                    <a:pt x="12780" y="88737"/>
                    <a:pt x="88181" y="13406"/>
                    <a:pt x="180836" y="13406"/>
                  </a:cubicBezTo>
                  <a:cubicBezTo>
                    <a:pt x="273490" y="13406"/>
                    <a:pt x="348890" y="88737"/>
                    <a:pt x="348890" y="181305"/>
                  </a:cubicBezTo>
                  <a:cubicBezTo>
                    <a:pt x="348890" y="273234"/>
                    <a:pt x="273490" y="349204"/>
                    <a:pt x="180836" y="349204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Graphic 4">
              <a:extLst>
                <a:ext uri="{FF2B5EF4-FFF2-40B4-BE49-F238E27FC236}">
                  <a16:creationId xmlns:a16="http://schemas.microsoft.com/office/drawing/2014/main" id="{1FF8678B-5229-E9D0-5FAE-1060A8C70EB8}"/>
                </a:ext>
              </a:extLst>
            </p:cNvPr>
            <p:cNvSpPr/>
            <p:nvPr/>
          </p:nvSpPr>
          <p:spPr>
            <a:xfrm>
              <a:off x="6834676" y="2943178"/>
              <a:ext cx="201283" cy="186412"/>
            </a:xfrm>
            <a:custGeom>
              <a:avLst/>
              <a:gdLst>
                <a:gd name="connsiteX0" fmla="*/ 194893 w 201283"/>
                <a:gd name="connsiteY0" fmla="*/ 0 h 186412"/>
                <a:gd name="connsiteX1" fmla="*/ 188503 w 201283"/>
                <a:gd name="connsiteY1" fmla="*/ 6384 h 186412"/>
                <a:gd name="connsiteX2" fmla="*/ 188503 w 201283"/>
                <a:gd name="connsiteY2" fmla="*/ 81715 h 186412"/>
                <a:gd name="connsiteX3" fmla="*/ 86264 w 201283"/>
                <a:gd name="connsiteY3" fmla="*/ 17875 h 186412"/>
                <a:gd name="connsiteX4" fmla="*/ 79874 w 201283"/>
                <a:gd name="connsiteY4" fmla="*/ 17875 h 186412"/>
                <a:gd name="connsiteX5" fmla="*/ 76679 w 201283"/>
                <a:gd name="connsiteY5" fmla="*/ 23621 h 186412"/>
                <a:gd name="connsiteX6" fmla="*/ 76679 w 201283"/>
                <a:gd name="connsiteY6" fmla="*/ 60009 h 186412"/>
                <a:gd name="connsiteX7" fmla="*/ 9585 w 201283"/>
                <a:gd name="connsiteY7" fmla="*/ 17875 h 186412"/>
                <a:gd name="connsiteX8" fmla="*/ 3195 w 201283"/>
                <a:gd name="connsiteY8" fmla="*/ 17875 h 186412"/>
                <a:gd name="connsiteX9" fmla="*/ 0 w 201283"/>
                <a:gd name="connsiteY9" fmla="*/ 23621 h 186412"/>
                <a:gd name="connsiteX10" fmla="*/ 0 w 201283"/>
                <a:gd name="connsiteY10" fmla="*/ 163430 h 186412"/>
                <a:gd name="connsiteX11" fmla="*/ 3195 w 201283"/>
                <a:gd name="connsiteY11" fmla="*/ 169176 h 186412"/>
                <a:gd name="connsiteX12" fmla="*/ 6390 w 201283"/>
                <a:gd name="connsiteY12" fmla="*/ 169814 h 186412"/>
                <a:gd name="connsiteX13" fmla="*/ 9585 w 201283"/>
                <a:gd name="connsiteY13" fmla="*/ 168537 h 186412"/>
                <a:gd name="connsiteX14" fmla="*/ 76679 w 201283"/>
                <a:gd name="connsiteY14" fmla="*/ 126403 h 186412"/>
                <a:gd name="connsiteX15" fmla="*/ 76679 w 201283"/>
                <a:gd name="connsiteY15" fmla="*/ 162792 h 186412"/>
                <a:gd name="connsiteX16" fmla="*/ 79874 w 201283"/>
                <a:gd name="connsiteY16" fmla="*/ 168537 h 186412"/>
                <a:gd name="connsiteX17" fmla="*/ 86264 w 201283"/>
                <a:gd name="connsiteY17" fmla="*/ 168537 h 186412"/>
                <a:gd name="connsiteX18" fmla="*/ 188503 w 201283"/>
                <a:gd name="connsiteY18" fmla="*/ 104697 h 186412"/>
                <a:gd name="connsiteX19" fmla="*/ 188503 w 201283"/>
                <a:gd name="connsiteY19" fmla="*/ 180028 h 186412"/>
                <a:gd name="connsiteX20" fmla="*/ 194893 w 201283"/>
                <a:gd name="connsiteY20" fmla="*/ 186412 h 186412"/>
                <a:gd name="connsiteX21" fmla="*/ 201283 w 201283"/>
                <a:gd name="connsiteY21" fmla="*/ 180028 h 186412"/>
                <a:gd name="connsiteX22" fmla="*/ 201283 w 201283"/>
                <a:gd name="connsiteY22" fmla="*/ 7022 h 186412"/>
                <a:gd name="connsiteX23" fmla="*/ 194893 w 201283"/>
                <a:gd name="connsiteY23" fmla="*/ 0 h 186412"/>
                <a:gd name="connsiteX24" fmla="*/ 89459 w 201283"/>
                <a:gd name="connsiteY24" fmla="*/ 151300 h 186412"/>
                <a:gd name="connsiteX25" fmla="*/ 89459 w 201283"/>
                <a:gd name="connsiteY25" fmla="*/ 114912 h 186412"/>
                <a:gd name="connsiteX26" fmla="*/ 86264 w 201283"/>
                <a:gd name="connsiteY26" fmla="*/ 109166 h 186412"/>
                <a:gd name="connsiteX27" fmla="*/ 79874 w 201283"/>
                <a:gd name="connsiteY27" fmla="*/ 109166 h 186412"/>
                <a:gd name="connsiteX28" fmla="*/ 12780 w 201283"/>
                <a:gd name="connsiteY28" fmla="*/ 151300 h 186412"/>
                <a:gd name="connsiteX29" fmla="*/ 12780 w 201283"/>
                <a:gd name="connsiteY29" fmla="*/ 34473 h 186412"/>
                <a:gd name="connsiteX30" fmla="*/ 79874 w 201283"/>
                <a:gd name="connsiteY30" fmla="*/ 76608 h 186412"/>
                <a:gd name="connsiteX31" fmla="*/ 86264 w 201283"/>
                <a:gd name="connsiteY31" fmla="*/ 76608 h 186412"/>
                <a:gd name="connsiteX32" fmla="*/ 89459 w 201283"/>
                <a:gd name="connsiteY32" fmla="*/ 70862 h 186412"/>
                <a:gd name="connsiteX33" fmla="*/ 89459 w 201283"/>
                <a:gd name="connsiteY33" fmla="*/ 34473 h 186412"/>
                <a:gd name="connsiteX34" fmla="*/ 182752 w 201283"/>
                <a:gd name="connsiteY34" fmla="*/ 92568 h 186412"/>
                <a:gd name="connsiteX35" fmla="*/ 89459 w 201283"/>
                <a:gd name="connsiteY35" fmla="*/ 151300 h 186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201283" h="186412">
                  <a:moveTo>
                    <a:pt x="194893" y="0"/>
                  </a:moveTo>
                  <a:cubicBezTo>
                    <a:pt x="191059" y="0"/>
                    <a:pt x="188503" y="2554"/>
                    <a:pt x="188503" y="6384"/>
                  </a:cubicBezTo>
                  <a:lnTo>
                    <a:pt x="188503" y="81715"/>
                  </a:lnTo>
                  <a:lnTo>
                    <a:pt x="86264" y="17875"/>
                  </a:lnTo>
                  <a:cubicBezTo>
                    <a:pt x="84348" y="16598"/>
                    <a:pt x="81792" y="16598"/>
                    <a:pt x="79874" y="17875"/>
                  </a:cubicBezTo>
                  <a:cubicBezTo>
                    <a:pt x="77958" y="19152"/>
                    <a:pt x="76679" y="21067"/>
                    <a:pt x="76679" y="23621"/>
                  </a:cubicBezTo>
                  <a:lnTo>
                    <a:pt x="76679" y="60009"/>
                  </a:lnTo>
                  <a:lnTo>
                    <a:pt x="9585" y="17875"/>
                  </a:lnTo>
                  <a:cubicBezTo>
                    <a:pt x="7668" y="16598"/>
                    <a:pt x="5112" y="16598"/>
                    <a:pt x="3195" y="17875"/>
                  </a:cubicBezTo>
                  <a:cubicBezTo>
                    <a:pt x="1278" y="19152"/>
                    <a:pt x="0" y="21067"/>
                    <a:pt x="0" y="23621"/>
                  </a:cubicBezTo>
                  <a:lnTo>
                    <a:pt x="0" y="163430"/>
                  </a:lnTo>
                  <a:cubicBezTo>
                    <a:pt x="0" y="165984"/>
                    <a:pt x="1278" y="167899"/>
                    <a:pt x="3195" y="169176"/>
                  </a:cubicBezTo>
                  <a:cubicBezTo>
                    <a:pt x="4473" y="169814"/>
                    <a:pt x="5112" y="169814"/>
                    <a:pt x="6390" y="169814"/>
                  </a:cubicBezTo>
                  <a:cubicBezTo>
                    <a:pt x="7668" y="169814"/>
                    <a:pt x="8946" y="169176"/>
                    <a:pt x="9585" y="168537"/>
                  </a:cubicBezTo>
                  <a:lnTo>
                    <a:pt x="76679" y="126403"/>
                  </a:lnTo>
                  <a:lnTo>
                    <a:pt x="76679" y="162792"/>
                  </a:lnTo>
                  <a:cubicBezTo>
                    <a:pt x="76679" y="165345"/>
                    <a:pt x="77958" y="167260"/>
                    <a:pt x="79874" y="168537"/>
                  </a:cubicBezTo>
                  <a:cubicBezTo>
                    <a:pt x="81792" y="169814"/>
                    <a:pt x="84348" y="169814"/>
                    <a:pt x="86264" y="168537"/>
                  </a:cubicBezTo>
                  <a:lnTo>
                    <a:pt x="188503" y="104697"/>
                  </a:lnTo>
                  <a:lnTo>
                    <a:pt x="188503" y="180028"/>
                  </a:lnTo>
                  <a:cubicBezTo>
                    <a:pt x="188503" y="183859"/>
                    <a:pt x="191059" y="186412"/>
                    <a:pt x="194893" y="186412"/>
                  </a:cubicBezTo>
                  <a:cubicBezTo>
                    <a:pt x="198727" y="186412"/>
                    <a:pt x="201283" y="183859"/>
                    <a:pt x="201283" y="180028"/>
                  </a:cubicBezTo>
                  <a:lnTo>
                    <a:pt x="201283" y="7022"/>
                  </a:lnTo>
                  <a:cubicBezTo>
                    <a:pt x="201283" y="3192"/>
                    <a:pt x="198727" y="0"/>
                    <a:pt x="194893" y="0"/>
                  </a:cubicBezTo>
                  <a:close/>
                  <a:moveTo>
                    <a:pt x="89459" y="151300"/>
                  </a:moveTo>
                  <a:lnTo>
                    <a:pt x="89459" y="114912"/>
                  </a:lnTo>
                  <a:cubicBezTo>
                    <a:pt x="89459" y="112358"/>
                    <a:pt x="88181" y="110443"/>
                    <a:pt x="86264" y="109166"/>
                  </a:cubicBezTo>
                  <a:cubicBezTo>
                    <a:pt x="84348" y="107889"/>
                    <a:pt x="81792" y="107889"/>
                    <a:pt x="79874" y="109166"/>
                  </a:cubicBezTo>
                  <a:lnTo>
                    <a:pt x="12780" y="151300"/>
                  </a:lnTo>
                  <a:lnTo>
                    <a:pt x="12780" y="34473"/>
                  </a:lnTo>
                  <a:lnTo>
                    <a:pt x="79874" y="76608"/>
                  </a:lnTo>
                  <a:cubicBezTo>
                    <a:pt x="81792" y="77885"/>
                    <a:pt x="84348" y="77885"/>
                    <a:pt x="86264" y="76608"/>
                  </a:cubicBezTo>
                  <a:cubicBezTo>
                    <a:pt x="88181" y="75331"/>
                    <a:pt x="89459" y="73416"/>
                    <a:pt x="89459" y="70862"/>
                  </a:cubicBezTo>
                  <a:lnTo>
                    <a:pt x="89459" y="34473"/>
                  </a:lnTo>
                  <a:lnTo>
                    <a:pt x="182752" y="92568"/>
                  </a:lnTo>
                  <a:lnTo>
                    <a:pt x="89459" y="151300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519109337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 Brand Theme">
  <a:themeElements>
    <a:clrScheme name="Custom 3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43B02A"/>
      </a:accent2>
      <a:accent3>
        <a:srgbClr val="26890D"/>
      </a:accent3>
      <a:accent4>
        <a:srgbClr val="046A38"/>
      </a:accent4>
      <a:accent5>
        <a:srgbClr val="0D8390"/>
      </a:accent5>
      <a:accent6>
        <a:srgbClr val="007CB0"/>
      </a:accent6>
      <a:hlink>
        <a:srgbClr val="00A3E0"/>
      </a:hlink>
      <a:folHlink>
        <a:srgbClr val="7F7F7F"/>
      </a:folHlink>
    </a:clrScheme>
    <a:fontScheme name="Custom 2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9108-Presentation_16x9_Timesaver_PPT_Jan2022 (1).pptx" id="{6BF7DA49-D6F5-4F19-AAC6-7DC45F3A1CD9}" vid="{84C4D3F8-1E44-46A9-99C4-7045F60941A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Global-Timesaver</Template>
  <TotalTime>213</TotalTime>
  <Words>228</Words>
  <Application>Microsoft Office PowerPoint</Application>
  <PresentationFormat>Widescreen</PresentationFormat>
  <Paragraphs>23</Paragraphs>
  <Slides>2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8" baseType="lpstr">
      <vt:lpstr>Arial</vt:lpstr>
      <vt:lpstr>Calibri</vt:lpstr>
      <vt:lpstr>Calibri Light</vt:lpstr>
      <vt:lpstr>Verdana</vt:lpstr>
      <vt:lpstr>Deloitte Brand Theme</vt:lpstr>
      <vt:lpstr>think-cell Slide</vt:lpstr>
      <vt:lpstr>Statement of Interest Generator | Capstone Project</vt:lpstr>
      <vt:lpstr>Statement of Interest Generato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atement of Interest Generator | Capstone Project</dc:title>
  <dc:creator>McLennan, Ian</dc:creator>
  <cp:lastModifiedBy>McLennan, Ian</cp:lastModifiedBy>
  <cp:revision>4</cp:revision>
  <dcterms:created xsi:type="dcterms:W3CDTF">2023-11-15T17:59:52Z</dcterms:created>
  <dcterms:modified xsi:type="dcterms:W3CDTF">2023-11-17T22:46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a60d57e-af5b-4752-ac57-3e4f28ca11dc_Enabled">
    <vt:lpwstr>true</vt:lpwstr>
  </property>
  <property fmtid="{D5CDD505-2E9C-101B-9397-08002B2CF9AE}" pid="3" name="MSIP_Label_ea60d57e-af5b-4752-ac57-3e4f28ca11dc_SetDate">
    <vt:lpwstr>2021-02-15T16:19:10Z</vt:lpwstr>
  </property>
  <property fmtid="{D5CDD505-2E9C-101B-9397-08002B2CF9AE}" pid="4" name="MSIP_Label_ea60d57e-af5b-4752-ac57-3e4f28ca11dc_Method">
    <vt:lpwstr>Standard</vt:lpwstr>
  </property>
  <property fmtid="{D5CDD505-2E9C-101B-9397-08002B2CF9AE}" pid="5" name="MSIP_Label_ea60d57e-af5b-4752-ac57-3e4f28ca11dc_Name">
    <vt:lpwstr>ea60d57e-af5b-4752-ac57-3e4f28ca11dc</vt:lpwstr>
  </property>
  <property fmtid="{D5CDD505-2E9C-101B-9397-08002B2CF9AE}" pid="6" name="MSIP_Label_ea60d57e-af5b-4752-ac57-3e4f28ca11dc_SiteId">
    <vt:lpwstr>36da45f1-dd2c-4d1f-af13-5abe46b99921</vt:lpwstr>
  </property>
  <property fmtid="{D5CDD505-2E9C-101B-9397-08002B2CF9AE}" pid="7" name="MSIP_Label_ea60d57e-af5b-4752-ac57-3e4f28ca11dc_ActionId">
    <vt:lpwstr>3415186a-2cc8-454a-80c2-1b89340bbe69</vt:lpwstr>
  </property>
  <property fmtid="{D5CDD505-2E9C-101B-9397-08002B2CF9AE}" pid="8" name="MSIP_Label_ea60d57e-af5b-4752-ac57-3e4f28ca11dc_ContentBits">
    <vt:lpwstr>0</vt:lpwstr>
  </property>
</Properties>
</file>